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6"/>
  </p:notesMasterIdLst>
  <p:handoutMasterIdLst>
    <p:handoutMasterId r:id="rId17"/>
  </p:handoutMasterIdLst>
  <p:sldIdLst>
    <p:sldId id="256" r:id="rId5"/>
    <p:sldId id="268" r:id="rId6"/>
    <p:sldId id="261" r:id="rId7"/>
    <p:sldId id="262" r:id="rId8"/>
    <p:sldId id="263" r:id="rId9"/>
    <p:sldId id="264" r:id="rId10"/>
    <p:sldId id="265" r:id="rId11"/>
    <p:sldId id="266" r:id="rId12"/>
    <p:sldId id="267" r:id="rId13"/>
    <p:sldId id="260" r:id="rId14"/>
    <p:sldId id="259" r:id="rId15"/>
  </p:sldIdLst>
  <p:sldSz cx="12192000" cy="6858000"/>
  <p:notesSz cx="6794500" cy="99314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E66D66-FA8B-4C17-BCA8-7FD360333E7A}" v="2" dt="2025-02-12T04:51:39.91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1205"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C2E66D66-FA8B-4C17-BCA8-7FD360333E7A}"/>
    <pc:docChg chg="custSel modSld delMainMaster">
      <pc:chgData name="Johanna Tschirpke" userId="301241ab745d8141" providerId="LiveId" clId="{C2E66D66-FA8B-4C17-BCA8-7FD360333E7A}" dt="2025-02-12T04:53:29.837" v="20" actId="700"/>
      <pc:docMkLst>
        <pc:docMk/>
      </pc:docMkLst>
      <pc:sldChg chg="addSp delSp modSp mod modClrScheme chgLayout">
        <pc:chgData name="Johanna Tschirpke" userId="301241ab745d8141" providerId="LiveId" clId="{C2E66D66-FA8B-4C17-BCA8-7FD360333E7A}" dt="2025-02-12T04:51:41.685" v="3" actId="962"/>
        <pc:sldMkLst>
          <pc:docMk/>
          <pc:sldMk cId="3336388269" sldId="256"/>
        </pc:sldMkLst>
        <pc:spChg chg="mod ord">
          <ac:chgData name="Johanna Tschirpke" userId="301241ab745d8141" providerId="LiveId" clId="{C2E66D66-FA8B-4C17-BCA8-7FD360333E7A}" dt="2025-02-12T04:51:29.021" v="0" actId="700"/>
          <ac:spMkLst>
            <pc:docMk/>
            <pc:sldMk cId="3336388269" sldId="256"/>
            <ac:spMk id="2" creationId="{89ADA0E5-B71A-EFF3-6626-9DC27E0686D0}"/>
          </ac:spMkLst>
        </pc:spChg>
        <pc:spChg chg="del mod ord">
          <ac:chgData name="Johanna Tschirpke" userId="301241ab745d8141" providerId="LiveId" clId="{C2E66D66-FA8B-4C17-BCA8-7FD360333E7A}" dt="2025-02-12T04:51:29.021" v="0" actId="700"/>
          <ac:spMkLst>
            <pc:docMk/>
            <pc:sldMk cId="3336388269" sldId="256"/>
            <ac:spMk id="3" creationId="{1F093D80-52B9-D4B5-5A6F-6B3E9B37C88B}"/>
          </ac:spMkLst>
        </pc:spChg>
        <pc:spChg chg="add del mod ord">
          <ac:chgData name="Johanna Tschirpke" userId="301241ab745d8141" providerId="LiveId" clId="{C2E66D66-FA8B-4C17-BCA8-7FD360333E7A}" dt="2025-02-12T04:51:39.918" v="1" actId="931"/>
          <ac:spMkLst>
            <pc:docMk/>
            <pc:sldMk cId="3336388269" sldId="256"/>
            <ac:spMk id="4" creationId="{07C71991-52EA-0B58-E076-F3692FD3640C}"/>
          </ac:spMkLst>
        </pc:spChg>
        <pc:spChg chg="add mod ord">
          <ac:chgData name="Johanna Tschirpke" userId="301241ab745d8141" providerId="LiveId" clId="{C2E66D66-FA8B-4C17-BCA8-7FD360333E7A}" dt="2025-02-12T04:51:29.021" v="0" actId="700"/>
          <ac:spMkLst>
            <pc:docMk/>
            <pc:sldMk cId="3336388269" sldId="256"/>
            <ac:spMk id="5" creationId="{7990A601-6B3E-0108-1F16-6DC91AFD4982}"/>
          </ac:spMkLst>
        </pc:spChg>
        <pc:picChg chg="add mod">
          <ac:chgData name="Johanna Tschirpke" userId="301241ab745d8141" providerId="LiveId" clId="{C2E66D66-FA8B-4C17-BCA8-7FD360333E7A}" dt="2025-02-12T04:51:41.685" v="3" actId="962"/>
          <ac:picMkLst>
            <pc:docMk/>
            <pc:sldMk cId="3336388269" sldId="256"/>
            <ac:picMk id="7" creationId="{D9285162-E226-17C2-EF81-EC2AAAC8A58F}"/>
          </ac:picMkLst>
        </pc:picChg>
      </pc:sldChg>
      <pc:sldChg chg="modSp mod modClrScheme chgLayout">
        <pc:chgData name="Johanna Tschirpke" userId="301241ab745d8141" providerId="LiveId" clId="{C2E66D66-FA8B-4C17-BCA8-7FD360333E7A}" dt="2025-02-12T04:53:29.837" v="20" actId="700"/>
        <pc:sldMkLst>
          <pc:docMk/>
          <pc:sldMk cId="3900022370" sldId="259"/>
        </pc:sldMkLst>
        <pc:spChg chg="mod ord">
          <ac:chgData name="Johanna Tschirpke" userId="301241ab745d8141" providerId="LiveId" clId="{C2E66D66-FA8B-4C17-BCA8-7FD360333E7A}" dt="2025-02-12T04:53:29.837" v="20" actId="700"/>
          <ac:spMkLst>
            <pc:docMk/>
            <pc:sldMk cId="3900022370" sldId="259"/>
            <ac:spMk id="2" creationId="{4655BD53-A3A5-A248-AC71-D064E801D39F}"/>
          </ac:spMkLst>
        </pc:spChg>
        <pc:spChg chg="mod ord">
          <ac:chgData name="Johanna Tschirpke" userId="301241ab745d8141" providerId="LiveId" clId="{C2E66D66-FA8B-4C17-BCA8-7FD360333E7A}" dt="2025-02-12T04:53:29.837" v="20" actId="700"/>
          <ac:spMkLst>
            <pc:docMk/>
            <pc:sldMk cId="3900022370" sldId="259"/>
            <ac:spMk id="3" creationId="{FA456910-3457-65AE-2ADB-F3B74EE7B67B}"/>
          </ac:spMkLst>
        </pc:spChg>
      </pc:sldChg>
      <pc:sldChg chg="addSp delSp modSp mod modClrScheme chgLayout">
        <pc:chgData name="Johanna Tschirpke" userId="301241ab745d8141" providerId="LiveId" clId="{C2E66D66-FA8B-4C17-BCA8-7FD360333E7A}" dt="2025-02-12T04:53:21.747" v="19" actId="700"/>
        <pc:sldMkLst>
          <pc:docMk/>
          <pc:sldMk cId="3305507378" sldId="260"/>
        </pc:sldMkLst>
        <pc:spChg chg="add mod ord">
          <ac:chgData name="Johanna Tschirpke" userId="301241ab745d8141" providerId="LiveId" clId="{C2E66D66-FA8B-4C17-BCA8-7FD360333E7A}" dt="2025-02-12T04:53:21.747" v="19" actId="700"/>
          <ac:spMkLst>
            <pc:docMk/>
            <pc:sldMk cId="3305507378" sldId="260"/>
            <ac:spMk id="2" creationId="{BA8E7665-D946-0CA0-55FB-69976402558A}"/>
          </ac:spMkLst>
        </pc:spChg>
        <pc:spChg chg="add mod ord">
          <ac:chgData name="Johanna Tschirpke" userId="301241ab745d8141" providerId="LiveId" clId="{C2E66D66-FA8B-4C17-BCA8-7FD360333E7A}" dt="2025-02-12T04:53:21.747" v="19" actId="700"/>
          <ac:spMkLst>
            <pc:docMk/>
            <pc:sldMk cId="3305507378" sldId="260"/>
            <ac:spMk id="3" creationId="{32AE3760-4FFB-D93C-02CE-81F02E6E2E6A}"/>
          </ac:spMkLst>
        </pc:spChg>
        <pc:spChg chg="mod ord">
          <ac:chgData name="Johanna Tschirpke" userId="301241ab745d8141" providerId="LiveId" clId="{C2E66D66-FA8B-4C17-BCA8-7FD360333E7A}" dt="2025-02-12T04:53:21.747" v="19" actId="700"/>
          <ac:spMkLst>
            <pc:docMk/>
            <pc:sldMk cId="3305507378" sldId="260"/>
            <ac:spMk id="4" creationId="{810758E5-ECBB-B458-04E3-014D84A95129}"/>
          </ac:spMkLst>
        </pc:spChg>
        <pc:spChg chg="mod ord">
          <ac:chgData name="Johanna Tschirpke" userId="301241ab745d8141" providerId="LiveId" clId="{C2E66D66-FA8B-4C17-BCA8-7FD360333E7A}" dt="2025-02-12T04:53:21.747" v="19" actId="700"/>
          <ac:spMkLst>
            <pc:docMk/>
            <pc:sldMk cId="3305507378" sldId="260"/>
            <ac:spMk id="5" creationId="{D9FAD564-D287-E60E-7600-642C685522A8}"/>
          </ac:spMkLst>
        </pc:spChg>
        <pc:spChg chg="add mod ord">
          <ac:chgData name="Johanna Tschirpke" userId="301241ab745d8141" providerId="LiveId" clId="{C2E66D66-FA8B-4C17-BCA8-7FD360333E7A}" dt="2025-02-12T04:53:21.747" v="19" actId="700"/>
          <ac:spMkLst>
            <pc:docMk/>
            <pc:sldMk cId="3305507378" sldId="260"/>
            <ac:spMk id="6" creationId="{3655F7F2-B163-7193-BB03-0FD580EE5BC3}"/>
          </ac:spMkLst>
        </pc:spChg>
        <pc:spChg chg="mod ord">
          <ac:chgData name="Johanna Tschirpke" userId="301241ab745d8141" providerId="LiveId" clId="{C2E66D66-FA8B-4C17-BCA8-7FD360333E7A}" dt="2025-02-12T04:53:21.747" v="19" actId="700"/>
          <ac:spMkLst>
            <pc:docMk/>
            <pc:sldMk cId="3305507378" sldId="260"/>
            <ac:spMk id="7" creationId="{F8148914-6939-9243-C5C4-A887EB51DC56}"/>
          </ac:spMkLst>
        </pc:spChg>
        <pc:spChg chg="del mod ord">
          <ac:chgData name="Johanna Tschirpke" userId="301241ab745d8141" providerId="LiveId" clId="{C2E66D66-FA8B-4C17-BCA8-7FD360333E7A}" dt="2025-02-12T04:53:21.747" v="19" actId="700"/>
          <ac:spMkLst>
            <pc:docMk/>
            <pc:sldMk cId="3305507378" sldId="260"/>
            <ac:spMk id="8" creationId="{907C863B-9829-9CD1-3365-20A9BE0998C3}"/>
          </ac:spMkLst>
        </pc:spChg>
        <pc:spChg chg="del mod ord">
          <ac:chgData name="Johanna Tschirpke" userId="301241ab745d8141" providerId="LiveId" clId="{C2E66D66-FA8B-4C17-BCA8-7FD360333E7A}" dt="2025-02-12T04:53:21.747" v="19" actId="700"/>
          <ac:spMkLst>
            <pc:docMk/>
            <pc:sldMk cId="3305507378" sldId="260"/>
            <ac:spMk id="9" creationId="{44260E7C-B49B-1422-6577-8A53F8CDEBC4}"/>
          </ac:spMkLst>
        </pc:spChg>
        <pc:spChg chg="del mod ord">
          <ac:chgData name="Johanna Tschirpke" userId="301241ab745d8141" providerId="LiveId" clId="{C2E66D66-FA8B-4C17-BCA8-7FD360333E7A}" dt="2025-02-12T04:53:21.747" v="19" actId="700"/>
          <ac:spMkLst>
            <pc:docMk/>
            <pc:sldMk cId="3305507378" sldId="260"/>
            <ac:spMk id="10" creationId="{60E19EA4-E474-52FD-F52E-64C6A755EDAD}"/>
          </ac:spMkLst>
        </pc:spChg>
        <pc:spChg chg="del mod ord">
          <ac:chgData name="Johanna Tschirpke" userId="301241ab745d8141" providerId="LiveId" clId="{C2E66D66-FA8B-4C17-BCA8-7FD360333E7A}" dt="2025-02-12T04:53:21.747" v="19" actId="700"/>
          <ac:spMkLst>
            <pc:docMk/>
            <pc:sldMk cId="3305507378" sldId="260"/>
            <ac:spMk id="11" creationId="{925CB4FA-9038-7496-3982-8F3DF9D9D524}"/>
          </ac:spMkLst>
        </pc:spChg>
        <pc:spChg chg="del mod ord">
          <ac:chgData name="Johanna Tschirpke" userId="301241ab745d8141" providerId="LiveId" clId="{C2E66D66-FA8B-4C17-BCA8-7FD360333E7A}" dt="2025-02-12T04:53:21.747" v="19" actId="700"/>
          <ac:spMkLst>
            <pc:docMk/>
            <pc:sldMk cId="3305507378" sldId="260"/>
            <ac:spMk id="12" creationId="{92994CA6-0D6C-A96D-7DD0-3520E1E67D7A}"/>
          </ac:spMkLst>
        </pc:spChg>
        <pc:spChg chg="add mod ord">
          <ac:chgData name="Johanna Tschirpke" userId="301241ab745d8141" providerId="LiveId" clId="{C2E66D66-FA8B-4C17-BCA8-7FD360333E7A}" dt="2025-02-12T04:53:21.747" v="19" actId="700"/>
          <ac:spMkLst>
            <pc:docMk/>
            <pc:sldMk cId="3305507378" sldId="260"/>
            <ac:spMk id="13" creationId="{668313EA-BDF4-C8C8-847E-5240A99EF9AA}"/>
          </ac:spMkLst>
        </pc:spChg>
        <pc:spChg chg="add mod ord">
          <ac:chgData name="Johanna Tschirpke" userId="301241ab745d8141" providerId="LiveId" clId="{C2E66D66-FA8B-4C17-BCA8-7FD360333E7A}" dt="2025-02-12T04:53:21.747" v="19" actId="700"/>
          <ac:spMkLst>
            <pc:docMk/>
            <pc:sldMk cId="3305507378" sldId="260"/>
            <ac:spMk id="14" creationId="{938E7075-17D0-04AD-9DB0-281B9F0A20F6}"/>
          </ac:spMkLst>
        </pc:spChg>
      </pc:sldChg>
      <pc:sldChg chg="addSp delSp modSp mod modClrScheme chgLayout">
        <pc:chgData name="Johanna Tschirpke" userId="301241ab745d8141" providerId="LiveId" clId="{C2E66D66-FA8B-4C17-BCA8-7FD360333E7A}" dt="2025-02-12T04:52:12.673" v="7" actId="14100"/>
        <pc:sldMkLst>
          <pc:docMk/>
          <pc:sldMk cId="3447090799" sldId="261"/>
        </pc:sldMkLst>
        <pc:spChg chg="mod ord">
          <ac:chgData name="Johanna Tschirpke" userId="301241ab745d8141" providerId="LiveId" clId="{C2E66D66-FA8B-4C17-BCA8-7FD360333E7A}" dt="2025-02-12T04:52:12.673" v="7" actId="14100"/>
          <ac:spMkLst>
            <pc:docMk/>
            <pc:sldMk cId="3447090799" sldId="261"/>
            <ac:spMk id="2" creationId="{A7819CAA-F86F-C404-74B4-35AE91ADCC44}"/>
          </ac:spMkLst>
        </pc:spChg>
        <pc:spChg chg="add mod ord">
          <ac:chgData name="Johanna Tschirpke" userId="301241ab745d8141" providerId="LiveId" clId="{C2E66D66-FA8B-4C17-BCA8-7FD360333E7A}" dt="2025-02-12T04:52:05.723" v="6" actId="700"/>
          <ac:spMkLst>
            <pc:docMk/>
            <pc:sldMk cId="3447090799" sldId="261"/>
            <ac:spMk id="3" creationId="{241CD183-EB90-6839-CF14-E41CD4EFF8D0}"/>
          </ac:spMkLst>
        </pc:spChg>
        <pc:spChg chg="mod ord">
          <ac:chgData name="Johanna Tschirpke" userId="301241ab745d8141" providerId="LiveId" clId="{C2E66D66-FA8B-4C17-BCA8-7FD360333E7A}" dt="2025-02-12T04:52:05.723" v="6" actId="700"/>
          <ac:spMkLst>
            <pc:docMk/>
            <pc:sldMk cId="3447090799" sldId="261"/>
            <ac:spMk id="4" creationId="{4F4B7B61-4AC6-F927-1D87-CFABC9D2B610}"/>
          </ac:spMkLst>
        </pc:spChg>
        <pc:spChg chg="mod ord">
          <ac:chgData name="Johanna Tschirpke" userId="301241ab745d8141" providerId="LiveId" clId="{C2E66D66-FA8B-4C17-BCA8-7FD360333E7A}" dt="2025-02-12T04:52:05.723" v="6" actId="700"/>
          <ac:spMkLst>
            <pc:docMk/>
            <pc:sldMk cId="3447090799" sldId="261"/>
            <ac:spMk id="5" creationId="{164B46B4-23A0-E62C-87C4-C483D19C13DC}"/>
          </ac:spMkLst>
        </pc:spChg>
        <pc:spChg chg="mod ord">
          <ac:chgData name="Johanna Tschirpke" userId="301241ab745d8141" providerId="LiveId" clId="{C2E66D66-FA8B-4C17-BCA8-7FD360333E7A}" dt="2025-02-12T04:52:05.723" v="6" actId="700"/>
          <ac:spMkLst>
            <pc:docMk/>
            <pc:sldMk cId="3447090799" sldId="261"/>
            <ac:spMk id="6" creationId="{F421DB08-D23A-4B6D-CA68-D9E2A56223E0}"/>
          </ac:spMkLst>
        </pc:spChg>
        <pc:spChg chg="del mod ord">
          <ac:chgData name="Johanna Tschirpke" userId="301241ab745d8141" providerId="LiveId" clId="{C2E66D66-FA8B-4C17-BCA8-7FD360333E7A}" dt="2025-02-12T04:52:05.723" v="6" actId="700"/>
          <ac:spMkLst>
            <pc:docMk/>
            <pc:sldMk cId="3447090799" sldId="261"/>
            <ac:spMk id="7" creationId="{3C81DD36-3D6C-0FCE-1E91-5DEB7AEF1106}"/>
          </ac:spMkLst>
        </pc:spChg>
      </pc:sldChg>
      <pc:sldChg chg="addSp delSp modSp mod modClrScheme chgLayout">
        <pc:chgData name="Johanna Tschirpke" userId="301241ab745d8141" providerId="LiveId" clId="{C2E66D66-FA8B-4C17-BCA8-7FD360333E7A}" dt="2025-02-12T04:52:22.676" v="9" actId="14100"/>
        <pc:sldMkLst>
          <pc:docMk/>
          <pc:sldMk cId="1313472224" sldId="262"/>
        </pc:sldMkLst>
        <pc:spChg chg="mod ord">
          <ac:chgData name="Johanna Tschirpke" userId="301241ab745d8141" providerId="LiveId" clId="{C2E66D66-FA8B-4C17-BCA8-7FD360333E7A}" dt="2025-02-12T04:52:22.676" v="9" actId="14100"/>
          <ac:spMkLst>
            <pc:docMk/>
            <pc:sldMk cId="1313472224" sldId="262"/>
            <ac:spMk id="2" creationId="{786271C5-012D-8FE1-22F3-4E8880E12BA8}"/>
          </ac:spMkLst>
        </pc:spChg>
        <pc:spChg chg="add mod ord">
          <ac:chgData name="Johanna Tschirpke" userId="301241ab745d8141" providerId="LiveId" clId="{C2E66D66-FA8B-4C17-BCA8-7FD360333E7A}" dt="2025-02-12T04:52:18.443" v="8" actId="700"/>
          <ac:spMkLst>
            <pc:docMk/>
            <pc:sldMk cId="1313472224" sldId="262"/>
            <ac:spMk id="3" creationId="{B9978C79-D7B9-F855-6B00-24DFD628CB7F}"/>
          </ac:spMkLst>
        </pc:spChg>
        <pc:spChg chg="mod ord">
          <ac:chgData name="Johanna Tschirpke" userId="301241ab745d8141" providerId="LiveId" clId="{C2E66D66-FA8B-4C17-BCA8-7FD360333E7A}" dt="2025-02-12T04:52:18.443" v="8" actId="700"/>
          <ac:spMkLst>
            <pc:docMk/>
            <pc:sldMk cId="1313472224" sldId="262"/>
            <ac:spMk id="4" creationId="{CB5EA119-DF13-8A29-D718-129063703CDB}"/>
          </ac:spMkLst>
        </pc:spChg>
        <pc:spChg chg="mod ord">
          <ac:chgData name="Johanna Tschirpke" userId="301241ab745d8141" providerId="LiveId" clId="{C2E66D66-FA8B-4C17-BCA8-7FD360333E7A}" dt="2025-02-12T04:52:18.443" v="8" actId="700"/>
          <ac:spMkLst>
            <pc:docMk/>
            <pc:sldMk cId="1313472224" sldId="262"/>
            <ac:spMk id="5" creationId="{C4FBAD97-9DD4-C84F-B8B1-874375234BFC}"/>
          </ac:spMkLst>
        </pc:spChg>
        <pc:spChg chg="mod ord">
          <ac:chgData name="Johanna Tschirpke" userId="301241ab745d8141" providerId="LiveId" clId="{C2E66D66-FA8B-4C17-BCA8-7FD360333E7A}" dt="2025-02-12T04:52:18.443" v="8" actId="700"/>
          <ac:spMkLst>
            <pc:docMk/>
            <pc:sldMk cId="1313472224" sldId="262"/>
            <ac:spMk id="6" creationId="{6987E6D5-73CF-117C-3F99-23CBCC02E9A2}"/>
          </ac:spMkLst>
        </pc:spChg>
        <pc:spChg chg="del mod ord">
          <ac:chgData name="Johanna Tschirpke" userId="301241ab745d8141" providerId="LiveId" clId="{C2E66D66-FA8B-4C17-BCA8-7FD360333E7A}" dt="2025-02-12T04:52:18.443" v="8" actId="700"/>
          <ac:spMkLst>
            <pc:docMk/>
            <pc:sldMk cId="1313472224" sldId="262"/>
            <ac:spMk id="7" creationId="{2F67D7BC-16C9-FF76-4FC9-6BFA15AC644C}"/>
          </ac:spMkLst>
        </pc:spChg>
      </pc:sldChg>
      <pc:sldChg chg="addSp delSp modSp mod modClrScheme chgLayout">
        <pc:chgData name="Johanna Tschirpke" userId="301241ab745d8141" providerId="LiveId" clId="{C2E66D66-FA8B-4C17-BCA8-7FD360333E7A}" dt="2025-02-12T04:52:36.826" v="11" actId="478"/>
        <pc:sldMkLst>
          <pc:docMk/>
          <pc:sldMk cId="1111152469" sldId="263"/>
        </pc:sldMkLst>
        <pc:spChg chg="mod ord">
          <ac:chgData name="Johanna Tschirpke" userId="301241ab745d8141" providerId="LiveId" clId="{C2E66D66-FA8B-4C17-BCA8-7FD360333E7A}" dt="2025-02-12T04:52:30.762" v="10" actId="700"/>
          <ac:spMkLst>
            <pc:docMk/>
            <pc:sldMk cId="1111152469" sldId="263"/>
            <ac:spMk id="2" creationId="{54D1CD5D-F02C-9979-06F3-6E0AF17BC712}"/>
          </ac:spMkLst>
        </pc:spChg>
        <pc:spChg chg="add del mod ord">
          <ac:chgData name="Johanna Tschirpke" userId="301241ab745d8141" providerId="LiveId" clId="{C2E66D66-FA8B-4C17-BCA8-7FD360333E7A}" dt="2025-02-12T04:52:36.826" v="11" actId="478"/>
          <ac:spMkLst>
            <pc:docMk/>
            <pc:sldMk cId="1111152469" sldId="263"/>
            <ac:spMk id="3" creationId="{E46DCF0A-44A9-7ADD-117C-5BDC5498882E}"/>
          </ac:spMkLst>
        </pc:spChg>
        <pc:spChg chg="mod ord">
          <ac:chgData name="Johanna Tschirpke" userId="301241ab745d8141" providerId="LiveId" clId="{C2E66D66-FA8B-4C17-BCA8-7FD360333E7A}" dt="2025-02-12T04:52:30.762" v="10" actId="700"/>
          <ac:spMkLst>
            <pc:docMk/>
            <pc:sldMk cId="1111152469" sldId="263"/>
            <ac:spMk id="4" creationId="{DDDD7B29-6FDE-6C23-61AC-A965AA83D749}"/>
          </ac:spMkLst>
        </pc:spChg>
        <pc:spChg chg="mod ord">
          <ac:chgData name="Johanna Tschirpke" userId="301241ab745d8141" providerId="LiveId" clId="{C2E66D66-FA8B-4C17-BCA8-7FD360333E7A}" dt="2025-02-12T04:52:30.762" v="10" actId="700"/>
          <ac:spMkLst>
            <pc:docMk/>
            <pc:sldMk cId="1111152469" sldId="263"/>
            <ac:spMk id="5" creationId="{83BC45A1-BAD7-5F28-6FF7-1AB2E282A44D}"/>
          </ac:spMkLst>
        </pc:spChg>
        <pc:spChg chg="mod ord">
          <ac:chgData name="Johanna Tschirpke" userId="301241ab745d8141" providerId="LiveId" clId="{C2E66D66-FA8B-4C17-BCA8-7FD360333E7A}" dt="2025-02-12T04:52:30.762" v="10" actId="700"/>
          <ac:spMkLst>
            <pc:docMk/>
            <pc:sldMk cId="1111152469" sldId="263"/>
            <ac:spMk id="6" creationId="{C09E7F5D-D322-6CAB-8336-DA1FD3966582}"/>
          </ac:spMkLst>
        </pc:spChg>
      </pc:sldChg>
      <pc:sldChg chg="addSp delSp modSp mod modClrScheme chgLayout">
        <pc:chgData name="Johanna Tschirpke" userId="301241ab745d8141" providerId="LiveId" clId="{C2E66D66-FA8B-4C17-BCA8-7FD360333E7A}" dt="2025-02-12T04:52:42.212" v="12" actId="700"/>
        <pc:sldMkLst>
          <pc:docMk/>
          <pc:sldMk cId="342805444" sldId="264"/>
        </pc:sldMkLst>
        <pc:spChg chg="mod ord">
          <ac:chgData name="Johanna Tschirpke" userId="301241ab745d8141" providerId="LiveId" clId="{C2E66D66-FA8B-4C17-BCA8-7FD360333E7A}" dt="2025-02-12T04:52:42.212" v="12" actId="700"/>
          <ac:spMkLst>
            <pc:docMk/>
            <pc:sldMk cId="342805444" sldId="264"/>
            <ac:spMk id="2" creationId="{785C8ABB-B6A0-8291-3331-04A7EB198A77}"/>
          </ac:spMkLst>
        </pc:spChg>
        <pc:spChg chg="del mod ord">
          <ac:chgData name="Johanna Tschirpke" userId="301241ab745d8141" providerId="LiveId" clId="{C2E66D66-FA8B-4C17-BCA8-7FD360333E7A}" dt="2025-02-12T04:52:42.212" v="12" actId="700"/>
          <ac:spMkLst>
            <pc:docMk/>
            <pc:sldMk cId="342805444" sldId="264"/>
            <ac:spMk id="3" creationId="{9C19BEC3-EA5C-3502-6CC8-8BB8A547DDDB}"/>
          </ac:spMkLst>
        </pc:spChg>
        <pc:spChg chg="mod ord">
          <ac:chgData name="Johanna Tschirpke" userId="301241ab745d8141" providerId="LiveId" clId="{C2E66D66-FA8B-4C17-BCA8-7FD360333E7A}" dt="2025-02-12T04:52:42.212" v="12" actId="700"/>
          <ac:spMkLst>
            <pc:docMk/>
            <pc:sldMk cId="342805444" sldId="264"/>
            <ac:spMk id="4" creationId="{E0687891-D8F7-3563-014E-06255C7C9884}"/>
          </ac:spMkLst>
        </pc:spChg>
        <pc:spChg chg="mod ord">
          <ac:chgData name="Johanna Tschirpke" userId="301241ab745d8141" providerId="LiveId" clId="{C2E66D66-FA8B-4C17-BCA8-7FD360333E7A}" dt="2025-02-12T04:52:42.212" v="12" actId="700"/>
          <ac:spMkLst>
            <pc:docMk/>
            <pc:sldMk cId="342805444" sldId="264"/>
            <ac:spMk id="5" creationId="{2BF923C2-06B5-54E6-ED8F-46E4C11EA526}"/>
          </ac:spMkLst>
        </pc:spChg>
        <pc:spChg chg="mod ord">
          <ac:chgData name="Johanna Tschirpke" userId="301241ab745d8141" providerId="LiveId" clId="{C2E66D66-FA8B-4C17-BCA8-7FD360333E7A}" dt="2025-02-12T04:52:42.212" v="12" actId="700"/>
          <ac:spMkLst>
            <pc:docMk/>
            <pc:sldMk cId="342805444" sldId="264"/>
            <ac:spMk id="6" creationId="{B23BBEF4-EDE4-1D02-8E73-B7276129849E}"/>
          </ac:spMkLst>
        </pc:spChg>
        <pc:spChg chg="add mod ord">
          <ac:chgData name="Johanna Tschirpke" userId="301241ab745d8141" providerId="LiveId" clId="{C2E66D66-FA8B-4C17-BCA8-7FD360333E7A}" dt="2025-02-12T04:52:42.212" v="12" actId="700"/>
          <ac:spMkLst>
            <pc:docMk/>
            <pc:sldMk cId="342805444" sldId="264"/>
            <ac:spMk id="7" creationId="{D7C50CA7-B8B8-A83A-1211-A9440B73993D}"/>
          </ac:spMkLst>
        </pc:spChg>
      </pc:sldChg>
      <pc:sldChg chg="addSp delSp modSp mod modClrScheme chgLayout">
        <pc:chgData name="Johanna Tschirpke" userId="301241ab745d8141" providerId="LiveId" clId="{C2E66D66-FA8B-4C17-BCA8-7FD360333E7A}" dt="2025-02-12T04:52:53.313" v="14" actId="14100"/>
        <pc:sldMkLst>
          <pc:docMk/>
          <pc:sldMk cId="645227455" sldId="265"/>
        </pc:sldMkLst>
        <pc:spChg chg="mod ord">
          <ac:chgData name="Johanna Tschirpke" userId="301241ab745d8141" providerId="LiveId" clId="{C2E66D66-FA8B-4C17-BCA8-7FD360333E7A}" dt="2025-02-12T04:52:53.313" v="14" actId="14100"/>
          <ac:spMkLst>
            <pc:docMk/>
            <pc:sldMk cId="645227455" sldId="265"/>
            <ac:spMk id="2" creationId="{28F215B0-3C36-02CD-74D9-7515D444DB66}"/>
          </ac:spMkLst>
        </pc:spChg>
        <pc:spChg chg="add mod ord">
          <ac:chgData name="Johanna Tschirpke" userId="301241ab745d8141" providerId="LiveId" clId="{C2E66D66-FA8B-4C17-BCA8-7FD360333E7A}" dt="2025-02-12T04:52:48.675" v="13" actId="700"/>
          <ac:spMkLst>
            <pc:docMk/>
            <pc:sldMk cId="645227455" sldId="265"/>
            <ac:spMk id="3" creationId="{E33AF0DD-C578-4E0B-73E8-00C6A91CB676}"/>
          </ac:spMkLst>
        </pc:spChg>
        <pc:spChg chg="mod ord">
          <ac:chgData name="Johanna Tschirpke" userId="301241ab745d8141" providerId="LiveId" clId="{C2E66D66-FA8B-4C17-BCA8-7FD360333E7A}" dt="2025-02-12T04:52:48.675" v="13" actId="700"/>
          <ac:spMkLst>
            <pc:docMk/>
            <pc:sldMk cId="645227455" sldId="265"/>
            <ac:spMk id="4" creationId="{D1A50B01-1753-F631-CE37-799BC8C9E8B8}"/>
          </ac:spMkLst>
        </pc:spChg>
        <pc:spChg chg="mod ord">
          <ac:chgData name="Johanna Tschirpke" userId="301241ab745d8141" providerId="LiveId" clId="{C2E66D66-FA8B-4C17-BCA8-7FD360333E7A}" dt="2025-02-12T04:52:48.675" v="13" actId="700"/>
          <ac:spMkLst>
            <pc:docMk/>
            <pc:sldMk cId="645227455" sldId="265"/>
            <ac:spMk id="5" creationId="{E0D9F01E-AA26-DA5F-9D62-7DAA59D07C19}"/>
          </ac:spMkLst>
        </pc:spChg>
        <pc:spChg chg="mod ord">
          <ac:chgData name="Johanna Tschirpke" userId="301241ab745d8141" providerId="LiveId" clId="{C2E66D66-FA8B-4C17-BCA8-7FD360333E7A}" dt="2025-02-12T04:52:48.675" v="13" actId="700"/>
          <ac:spMkLst>
            <pc:docMk/>
            <pc:sldMk cId="645227455" sldId="265"/>
            <ac:spMk id="6" creationId="{CD8020DA-6525-2BB3-9E26-71BCC5523F06}"/>
          </ac:spMkLst>
        </pc:spChg>
        <pc:spChg chg="del mod ord">
          <ac:chgData name="Johanna Tschirpke" userId="301241ab745d8141" providerId="LiveId" clId="{C2E66D66-FA8B-4C17-BCA8-7FD360333E7A}" dt="2025-02-12T04:52:48.675" v="13" actId="700"/>
          <ac:spMkLst>
            <pc:docMk/>
            <pc:sldMk cId="645227455" sldId="265"/>
            <ac:spMk id="7" creationId="{F484C3B2-8529-74B6-BAE2-702570B18415}"/>
          </ac:spMkLst>
        </pc:spChg>
      </pc:sldChg>
      <pc:sldChg chg="addSp delSp modSp mod modClrScheme chgLayout">
        <pc:chgData name="Johanna Tschirpke" userId="301241ab745d8141" providerId="LiveId" clId="{C2E66D66-FA8B-4C17-BCA8-7FD360333E7A}" dt="2025-02-12T04:53:03.972" v="16" actId="14100"/>
        <pc:sldMkLst>
          <pc:docMk/>
          <pc:sldMk cId="4067580488" sldId="266"/>
        </pc:sldMkLst>
        <pc:spChg chg="mod ord">
          <ac:chgData name="Johanna Tschirpke" userId="301241ab745d8141" providerId="LiveId" clId="{C2E66D66-FA8B-4C17-BCA8-7FD360333E7A}" dt="2025-02-12T04:53:03.972" v="16" actId="14100"/>
          <ac:spMkLst>
            <pc:docMk/>
            <pc:sldMk cId="4067580488" sldId="266"/>
            <ac:spMk id="2" creationId="{759D631C-0E2B-2CC2-87CF-C99DF7329691}"/>
          </ac:spMkLst>
        </pc:spChg>
        <pc:spChg chg="add mod ord">
          <ac:chgData name="Johanna Tschirpke" userId="301241ab745d8141" providerId="LiveId" clId="{C2E66D66-FA8B-4C17-BCA8-7FD360333E7A}" dt="2025-02-12T04:52:59.815" v="15" actId="700"/>
          <ac:spMkLst>
            <pc:docMk/>
            <pc:sldMk cId="4067580488" sldId="266"/>
            <ac:spMk id="3" creationId="{8456BF26-674F-BCFF-C0B1-F815ABD89D28}"/>
          </ac:spMkLst>
        </pc:spChg>
        <pc:spChg chg="mod ord">
          <ac:chgData name="Johanna Tschirpke" userId="301241ab745d8141" providerId="LiveId" clId="{C2E66D66-FA8B-4C17-BCA8-7FD360333E7A}" dt="2025-02-12T04:52:59.815" v="15" actId="700"/>
          <ac:spMkLst>
            <pc:docMk/>
            <pc:sldMk cId="4067580488" sldId="266"/>
            <ac:spMk id="4" creationId="{B07912C1-B7F4-CB3E-44F8-8460CE85AD36}"/>
          </ac:spMkLst>
        </pc:spChg>
        <pc:spChg chg="mod ord">
          <ac:chgData name="Johanna Tschirpke" userId="301241ab745d8141" providerId="LiveId" clId="{C2E66D66-FA8B-4C17-BCA8-7FD360333E7A}" dt="2025-02-12T04:52:59.815" v="15" actId="700"/>
          <ac:spMkLst>
            <pc:docMk/>
            <pc:sldMk cId="4067580488" sldId="266"/>
            <ac:spMk id="5" creationId="{90CA9004-4991-393E-7AEF-E442057644F2}"/>
          </ac:spMkLst>
        </pc:spChg>
        <pc:spChg chg="mod ord">
          <ac:chgData name="Johanna Tschirpke" userId="301241ab745d8141" providerId="LiveId" clId="{C2E66D66-FA8B-4C17-BCA8-7FD360333E7A}" dt="2025-02-12T04:52:59.815" v="15" actId="700"/>
          <ac:spMkLst>
            <pc:docMk/>
            <pc:sldMk cId="4067580488" sldId="266"/>
            <ac:spMk id="6" creationId="{3F4C91B2-DC2F-5678-BFEB-4DDA9FACABD2}"/>
          </ac:spMkLst>
        </pc:spChg>
        <pc:spChg chg="del mod ord">
          <ac:chgData name="Johanna Tschirpke" userId="301241ab745d8141" providerId="LiveId" clId="{C2E66D66-FA8B-4C17-BCA8-7FD360333E7A}" dt="2025-02-12T04:52:59.815" v="15" actId="700"/>
          <ac:spMkLst>
            <pc:docMk/>
            <pc:sldMk cId="4067580488" sldId="266"/>
            <ac:spMk id="7" creationId="{FBC777AD-752F-08AD-A3B5-A16633D763D4}"/>
          </ac:spMkLst>
        </pc:spChg>
      </pc:sldChg>
      <pc:sldChg chg="addSp delSp modSp mod modClrScheme chgLayout">
        <pc:chgData name="Johanna Tschirpke" userId="301241ab745d8141" providerId="LiveId" clId="{C2E66D66-FA8B-4C17-BCA8-7FD360333E7A}" dt="2025-02-12T04:53:13.709" v="18" actId="14100"/>
        <pc:sldMkLst>
          <pc:docMk/>
          <pc:sldMk cId="4020399168" sldId="267"/>
        </pc:sldMkLst>
        <pc:spChg chg="mod ord">
          <ac:chgData name="Johanna Tschirpke" userId="301241ab745d8141" providerId="LiveId" clId="{C2E66D66-FA8B-4C17-BCA8-7FD360333E7A}" dt="2025-02-12T04:53:13.709" v="18" actId="14100"/>
          <ac:spMkLst>
            <pc:docMk/>
            <pc:sldMk cId="4020399168" sldId="267"/>
            <ac:spMk id="2" creationId="{73FF9E05-A25C-1FE2-FEE7-65F3014A672C}"/>
          </ac:spMkLst>
        </pc:spChg>
        <pc:spChg chg="add mod ord">
          <ac:chgData name="Johanna Tschirpke" userId="301241ab745d8141" providerId="LiveId" clId="{C2E66D66-FA8B-4C17-BCA8-7FD360333E7A}" dt="2025-02-12T04:53:10.736" v="17" actId="700"/>
          <ac:spMkLst>
            <pc:docMk/>
            <pc:sldMk cId="4020399168" sldId="267"/>
            <ac:spMk id="3" creationId="{C11C1081-B900-C77E-3E11-DAFD63B520FF}"/>
          </ac:spMkLst>
        </pc:spChg>
        <pc:spChg chg="mod ord">
          <ac:chgData name="Johanna Tschirpke" userId="301241ab745d8141" providerId="LiveId" clId="{C2E66D66-FA8B-4C17-BCA8-7FD360333E7A}" dt="2025-02-12T04:53:10.736" v="17" actId="700"/>
          <ac:spMkLst>
            <pc:docMk/>
            <pc:sldMk cId="4020399168" sldId="267"/>
            <ac:spMk id="4" creationId="{C35AB837-EC30-3F27-2E19-01A0465F4691}"/>
          </ac:spMkLst>
        </pc:spChg>
        <pc:spChg chg="mod ord">
          <ac:chgData name="Johanna Tschirpke" userId="301241ab745d8141" providerId="LiveId" clId="{C2E66D66-FA8B-4C17-BCA8-7FD360333E7A}" dt="2025-02-12T04:53:10.736" v="17" actId="700"/>
          <ac:spMkLst>
            <pc:docMk/>
            <pc:sldMk cId="4020399168" sldId="267"/>
            <ac:spMk id="5" creationId="{B386819B-F2BD-675A-E5E7-FA7D9B87AA26}"/>
          </ac:spMkLst>
        </pc:spChg>
        <pc:spChg chg="mod ord">
          <ac:chgData name="Johanna Tschirpke" userId="301241ab745d8141" providerId="LiveId" clId="{C2E66D66-FA8B-4C17-BCA8-7FD360333E7A}" dt="2025-02-12T04:53:10.736" v="17" actId="700"/>
          <ac:spMkLst>
            <pc:docMk/>
            <pc:sldMk cId="4020399168" sldId="267"/>
            <ac:spMk id="6" creationId="{B4E5FE0E-3FC9-AB45-D098-9FEE9E1D500C}"/>
          </ac:spMkLst>
        </pc:spChg>
        <pc:spChg chg="del mod ord">
          <ac:chgData name="Johanna Tschirpke" userId="301241ab745d8141" providerId="LiveId" clId="{C2E66D66-FA8B-4C17-BCA8-7FD360333E7A}" dt="2025-02-12T04:53:10.736" v="17" actId="700"/>
          <ac:spMkLst>
            <pc:docMk/>
            <pc:sldMk cId="4020399168" sldId="267"/>
            <ac:spMk id="7" creationId="{D59FB43D-B03C-CFBC-3D44-3F48E2223FCC}"/>
          </ac:spMkLst>
        </pc:spChg>
      </pc:sldChg>
      <pc:sldChg chg="addSp delSp modSp mod modClrScheme chgLayout">
        <pc:chgData name="Johanna Tschirpke" userId="301241ab745d8141" providerId="LiveId" clId="{C2E66D66-FA8B-4C17-BCA8-7FD360333E7A}" dt="2025-02-12T04:51:59.219" v="5" actId="478"/>
        <pc:sldMkLst>
          <pc:docMk/>
          <pc:sldMk cId="2425724653" sldId="268"/>
        </pc:sldMkLst>
        <pc:spChg chg="del mod ord">
          <ac:chgData name="Johanna Tschirpke" userId="301241ab745d8141" providerId="LiveId" clId="{C2E66D66-FA8B-4C17-BCA8-7FD360333E7A}" dt="2025-02-12T04:51:49.544" v="4" actId="700"/>
          <ac:spMkLst>
            <pc:docMk/>
            <pc:sldMk cId="2425724653" sldId="268"/>
            <ac:spMk id="2" creationId="{EA2D46C4-882B-473E-6BA2-D83A3B14A25F}"/>
          </ac:spMkLst>
        </pc:spChg>
        <pc:spChg chg="add mod ord">
          <ac:chgData name="Johanna Tschirpke" userId="301241ab745d8141" providerId="LiveId" clId="{C2E66D66-FA8B-4C17-BCA8-7FD360333E7A}" dt="2025-02-12T04:51:49.544" v="4" actId="700"/>
          <ac:spMkLst>
            <pc:docMk/>
            <pc:sldMk cId="2425724653" sldId="268"/>
            <ac:spMk id="3" creationId="{ED547F70-1630-6C60-69EE-3736A96BB4F5}"/>
          </ac:spMkLst>
        </pc:spChg>
        <pc:spChg chg="mod ord">
          <ac:chgData name="Johanna Tschirpke" userId="301241ab745d8141" providerId="LiveId" clId="{C2E66D66-FA8B-4C17-BCA8-7FD360333E7A}" dt="2025-02-12T04:51:49.544" v="4" actId="700"/>
          <ac:spMkLst>
            <pc:docMk/>
            <pc:sldMk cId="2425724653" sldId="268"/>
            <ac:spMk id="4" creationId="{64B5BC52-7552-663E-7D98-0C241961BA3A}"/>
          </ac:spMkLst>
        </pc:spChg>
        <pc:spChg chg="mod ord">
          <ac:chgData name="Johanna Tschirpke" userId="301241ab745d8141" providerId="LiveId" clId="{C2E66D66-FA8B-4C17-BCA8-7FD360333E7A}" dt="2025-02-12T04:51:49.544" v="4" actId="700"/>
          <ac:spMkLst>
            <pc:docMk/>
            <pc:sldMk cId="2425724653" sldId="268"/>
            <ac:spMk id="5" creationId="{9172A2E2-223C-A9C9-B4B0-A967A44F61DD}"/>
          </ac:spMkLst>
        </pc:spChg>
        <pc:spChg chg="mod ord">
          <ac:chgData name="Johanna Tschirpke" userId="301241ab745d8141" providerId="LiveId" clId="{C2E66D66-FA8B-4C17-BCA8-7FD360333E7A}" dt="2025-02-12T04:51:49.544" v="4" actId="700"/>
          <ac:spMkLst>
            <pc:docMk/>
            <pc:sldMk cId="2425724653" sldId="268"/>
            <ac:spMk id="6" creationId="{34AF3B16-95B3-F5C3-8BC3-E57243EC39EC}"/>
          </ac:spMkLst>
        </pc:spChg>
        <pc:spChg chg="add del mod ord">
          <ac:chgData name="Johanna Tschirpke" userId="301241ab745d8141" providerId="LiveId" clId="{C2E66D66-FA8B-4C17-BCA8-7FD360333E7A}" dt="2025-02-12T04:51:59.219" v="5" actId="478"/>
          <ac:spMkLst>
            <pc:docMk/>
            <pc:sldMk cId="2425724653" sldId="268"/>
            <ac:spMk id="7" creationId="{DD069F3C-C6B5-B154-06A0-ED1D3BB19F31}"/>
          </ac:spMkLst>
        </pc:spChg>
      </pc:sldChg>
      <pc:sldMasterChg chg="del delSldLayout">
        <pc:chgData name="Johanna Tschirpke" userId="301241ab745d8141" providerId="LiveId" clId="{C2E66D66-FA8B-4C17-BCA8-7FD360333E7A}" dt="2025-02-12T04:53:29.837" v="20" actId="700"/>
        <pc:sldMasterMkLst>
          <pc:docMk/>
          <pc:sldMasterMk cId="1396210884" sldId="2147483836"/>
        </pc:sldMasterMkLst>
        <pc:sldLayoutChg chg="del">
          <pc:chgData name="Johanna Tschirpke" userId="301241ab745d8141" providerId="LiveId" clId="{C2E66D66-FA8B-4C17-BCA8-7FD360333E7A}" dt="2025-02-12T04:53:29.837" v="20" actId="700"/>
          <pc:sldLayoutMkLst>
            <pc:docMk/>
            <pc:sldMasterMk cId="1396210884" sldId="2147483836"/>
            <pc:sldLayoutMk cId="122822420" sldId="2147483838"/>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831001136" sldId="2147483839"/>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440609224" sldId="2147483841"/>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887783574" sldId="2147483842"/>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373587661" sldId="2147483844"/>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3083224777" sldId="2147483845"/>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595445346" sldId="2147483852"/>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3371250924" sldId="2147483857"/>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2900288936" sldId="2147483858"/>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2382881503" sldId="2147483859"/>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164637775" sldId="2147483861"/>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743119684" sldId="2147483862"/>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237855059" sldId="2147483863"/>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2123147712" sldId="2147483864"/>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546575208" sldId="2147483865"/>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177547803" sldId="2147483869"/>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2084612989" sldId="2147483870"/>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151548995" sldId="2147483871"/>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248574517" sldId="2147483872"/>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935950635" sldId="2147483873"/>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1523100279" sldId="2147483874"/>
          </pc:sldLayoutMkLst>
        </pc:sldLayoutChg>
        <pc:sldLayoutChg chg="del">
          <pc:chgData name="Johanna Tschirpke" userId="301241ab745d8141" providerId="LiveId" clId="{C2E66D66-FA8B-4C17-BCA8-7FD360333E7A}" dt="2025-02-12T04:53:29.837" v="20" actId="700"/>
          <pc:sldLayoutMkLst>
            <pc:docMk/>
            <pc:sldMasterMk cId="1396210884" sldId="2147483836"/>
            <pc:sldLayoutMk cId="2455064561" sldId="2147483875"/>
          </pc:sldLayoutMkLst>
        </pc:sldLayoutChg>
      </pc:sldMasterChg>
    </pc:docChg>
  </pc:docChgLst>
  <pc:docChgLst>
    <pc:chgData name="CC - Chand Chopra" userId="147050ee-f902-4a1c-a393-8ccdd2b31d6c" providerId="ADAL" clId="{8B2CA60D-50CA-44D3-A22B-1B60C7341764}"/>
    <pc:docChg chg="undo redo custSel modSld">
      <pc:chgData name="CC - Chand Chopra" userId="147050ee-f902-4a1c-a393-8ccdd2b31d6c" providerId="ADAL" clId="{8B2CA60D-50CA-44D3-A22B-1B60C7341764}" dt="2023-04-21T07:13:33.700" v="34" actId="11"/>
      <pc:docMkLst>
        <pc:docMk/>
      </pc:docMkLst>
      <pc:sldChg chg="addSp delSp modSp mod modClrScheme chgLayout">
        <pc:chgData name="CC - Chand Chopra" userId="147050ee-f902-4a1c-a393-8ccdd2b31d6c" providerId="ADAL" clId="{8B2CA60D-50CA-44D3-A22B-1B60C7341764}" dt="2023-04-21T07:10:10.572" v="13" actId="478"/>
        <pc:sldMkLst>
          <pc:docMk/>
          <pc:sldMk cId="1111152469" sldId="263"/>
        </pc:sldMkLst>
        <pc:spChg chg="mod ord">
          <ac:chgData name="CC - Chand Chopra" userId="147050ee-f902-4a1c-a393-8ccdd2b31d6c" providerId="ADAL" clId="{8B2CA60D-50CA-44D3-A22B-1B60C7341764}" dt="2023-04-21T07:05:34.881" v="0" actId="700"/>
          <ac:spMkLst>
            <pc:docMk/>
            <pc:sldMk cId="1111152469" sldId="263"/>
            <ac:spMk id="2" creationId="{54D1CD5D-F02C-9979-06F3-6E0AF17BC712}"/>
          </ac:spMkLst>
        </pc:spChg>
        <pc:spChg chg="add del mod ord">
          <ac:chgData name="CC - Chand Chopra" userId="147050ee-f902-4a1c-a393-8ccdd2b31d6c" providerId="ADAL" clId="{8B2CA60D-50CA-44D3-A22B-1B60C7341764}" dt="2023-04-21T07:10:10.572" v="13" actId="478"/>
          <ac:spMkLst>
            <pc:docMk/>
            <pc:sldMk cId="1111152469" sldId="263"/>
            <ac:spMk id="3" creationId="{EE4C55AD-0B88-FE45-6AAC-7DFC1B67B470}"/>
          </ac:spMkLst>
        </pc:spChg>
        <pc:spChg chg="mod ord">
          <ac:chgData name="CC - Chand Chopra" userId="147050ee-f902-4a1c-a393-8ccdd2b31d6c" providerId="ADAL" clId="{8B2CA60D-50CA-44D3-A22B-1B60C7341764}" dt="2023-04-21T07:05:34.881" v="0" actId="700"/>
          <ac:spMkLst>
            <pc:docMk/>
            <pc:sldMk cId="1111152469" sldId="263"/>
            <ac:spMk id="4" creationId="{DDDD7B29-6FDE-6C23-61AC-A965AA83D749}"/>
          </ac:spMkLst>
        </pc:spChg>
        <pc:spChg chg="mod ord">
          <ac:chgData name="CC - Chand Chopra" userId="147050ee-f902-4a1c-a393-8ccdd2b31d6c" providerId="ADAL" clId="{8B2CA60D-50CA-44D3-A22B-1B60C7341764}" dt="2023-04-21T07:05:34.881" v="0" actId="700"/>
          <ac:spMkLst>
            <pc:docMk/>
            <pc:sldMk cId="1111152469" sldId="263"/>
            <ac:spMk id="5" creationId="{83BC45A1-BAD7-5F28-6FF7-1AB2E282A44D}"/>
          </ac:spMkLst>
        </pc:spChg>
        <pc:spChg chg="mod ord">
          <ac:chgData name="CC - Chand Chopra" userId="147050ee-f902-4a1c-a393-8ccdd2b31d6c" providerId="ADAL" clId="{8B2CA60D-50CA-44D3-A22B-1B60C7341764}" dt="2023-04-21T07:05:34.881" v="0" actId="700"/>
          <ac:spMkLst>
            <pc:docMk/>
            <pc:sldMk cId="1111152469" sldId="263"/>
            <ac:spMk id="6" creationId="{C09E7F5D-D322-6CAB-8336-DA1FD3966582}"/>
          </ac:spMkLst>
        </pc:spChg>
      </pc:sldChg>
      <pc:sldChg chg="addSp delSp modSp mod modClrScheme chgLayout">
        <pc:chgData name="CC - Chand Chopra" userId="147050ee-f902-4a1c-a393-8ccdd2b31d6c" providerId="ADAL" clId="{8B2CA60D-50CA-44D3-A22B-1B60C7341764}" dt="2023-04-21T07:05:55.886" v="3" actId="700"/>
        <pc:sldMkLst>
          <pc:docMk/>
          <pc:sldMk cId="342805444" sldId="264"/>
        </pc:sldMkLst>
        <pc:spChg chg="mod ord">
          <ac:chgData name="CC - Chand Chopra" userId="147050ee-f902-4a1c-a393-8ccdd2b31d6c" providerId="ADAL" clId="{8B2CA60D-50CA-44D3-A22B-1B60C7341764}" dt="2023-04-21T07:05:55.886" v="3" actId="700"/>
          <ac:spMkLst>
            <pc:docMk/>
            <pc:sldMk cId="342805444" sldId="264"/>
            <ac:spMk id="2" creationId="{785C8ABB-B6A0-8291-3331-04A7EB198A77}"/>
          </ac:spMkLst>
        </pc:spChg>
        <pc:spChg chg="add del mod ord">
          <ac:chgData name="CC - Chand Chopra" userId="147050ee-f902-4a1c-a393-8ccdd2b31d6c" providerId="ADAL" clId="{8B2CA60D-50CA-44D3-A22B-1B60C7341764}" dt="2023-04-21T07:05:55.886" v="3" actId="700"/>
          <ac:spMkLst>
            <pc:docMk/>
            <pc:sldMk cId="342805444" sldId="264"/>
            <ac:spMk id="3" creationId="{9C19BEC3-EA5C-3502-6CC8-8BB8A547DDDB}"/>
          </ac:spMkLst>
        </pc:spChg>
        <pc:spChg chg="mod ord">
          <ac:chgData name="CC - Chand Chopra" userId="147050ee-f902-4a1c-a393-8ccdd2b31d6c" providerId="ADAL" clId="{8B2CA60D-50CA-44D3-A22B-1B60C7341764}" dt="2023-04-21T07:05:55.886" v="3" actId="700"/>
          <ac:spMkLst>
            <pc:docMk/>
            <pc:sldMk cId="342805444" sldId="264"/>
            <ac:spMk id="4" creationId="{E0687891-D8F7-3563-014E-06255C7C9884}"/>
          </ac:spMkLst>
        </pc:spChg>
        <pc:spChg chg="mod ord">
          <ac:chgData name="CC - Chand Chopra" userId="147050ee-f902-4a1c-a393-8ccdd2b31d6c" providerId="ADAL" clId="{8B2CA60D-50CA-44D3-A22B-1B60C7341764}" dt="2023-04-21T07:05:55.886" v="3" actId="700"/>
          <ac:spMkLst>
            <pc:docMk/>
            <pc:sldMk cId="342805444" sldId="264"/>
            <ac:spMk id="5" creationId="{2BF923C2-06B5-54E6-ED8F-46E4C11EA526}"/>
          </ac:spMkLst>
        </pc:spChg>
        <pc:spChg chg="mod ord">
          <ac:chgData name="CC - Chand Chopra" userId="147050ee-f902-4a1c-a393-8ccdd2b31d6c" providerId="ADAL" clId="{8B2CA60D-50CA-44D3-A22B-1B60C7341764}" dt="2023-04-21T07:05:55.886" v="3" actId="700"/>
          <ac:spMkLst>
            <pc:docMk/>
            <pc:sldMk cId="342805444" sldId="264"/>
            <ac:spMk id="6" creationId="{B23BBEF4-EDE4-1D02-8E73-B7276129849E}"/>
          </ac:spMkLst>
        </pc:spChg>
        <pc:spChg chg="add del mod ord">
          <ac:chgData name="CC - Chand Chopra" userId="147050ee-f902-4a1c-a393-8ccdd2b31d6c" providerId="ADAL" clId="{8B2CA60D-50CA-44D3-A22B-1B60C7341764}" dt="2023-04-21T07:05:55.886" v="3" actId="700"/>
          <ac:spMkLst>
            <pc:docMk/>
            <pc:sldMk cId="342805444" sldId="264"/>
            <ac:spMk id="7" creationId="{7034E8B3-9FE0-CE62-AF88-423770146C4C}"/>
          </ac:spMkLst>
        </pc:spChg>
      </pc:sldChg>
      <pc:sldChg chg="modSp mod">
        <pc:chgData name="CC - Chand Chopra" userId="147050ee-f902-4a1c-a393-8ccdd2b31d6c" providerId="ADAL" clId="{8B2CA60D-50CA-44D3-A22B-1B60C7341764}" dt="2023-04-21T07:11:17.976" v="24" actId="1076"/>
        <pc:sldMkLst>
          <pc:docMk/>
          <pc:sldMk cId="645227455" sldId="265"/>
        </pc:sldMkLst>
        <pc:spChg chg="mod">
          <ac:chgData name="CC - Chand Chopra" userId="147050ee-f902-4a1c-a393-8ccdd2b31d6c" providerId="ADAL" clId="{8B2CA60D-50CA-44D3-A22B-1B60C7341764}" dt="2023-04-21T07:10:49.292" v="16" actId="20577"/>
          <ac:spMkLst>
            <pc:docMk/>
            <pc:sldMk cId="645227455" sldId="265"/>
            <ac:spMk id="9" creationId="{D1F2E517-CBFB-95AC-F3B8-6A7FE6591FAC}"/>
          </ac:spMkLst>
        </pc:spChg>
        <pc:spChg chg="mod">
          <ac:chgData name="CC - Chand Chopra" userId="147050ee-f902-4a1c-a393-8ccdd2b31d6c" providerId="ADAL" clId="{8B2CA60D-50CA-44D3-A22B-1B60C7341764}" dt="2023-04-21T07:11:17.976" v="24" actId="1076"/>
          <ac:spMkLst>
            <pc:docMk/>
            <pc:sldMk cId="645227455" sldId="265"/>
            <ac:spMk id="11" creationId="{1C14C1B7-3376-8968-2793-C8784B5CBA22}"/>
          </ac:spMkLst>
        </pc:spChg>
        <pc:picChg chg="mod">
          <ac:chgData name="CC - Chand Chopra" userId="147050ee-f902-4a1c-a393-8ccdd2b31d6c" providerId="ADAL" clId="{8B2CA60D-50CA-44D3-A22B-1B60C7341764}" dt="2023-04-21T07:06:19.119" v="4" actId="1076"/>
          <ac:picMkLst>
            <pc:docMk/>
            <pc:sldMk cId="645227455" sldId="265"/>
            <ac:picMk id="8" creationId="{A8723668-C0E6-2313-235C-4615363314D7}"/>
          </ac:picMkLst>
        </pc:picChg>
      </pc:sldChg>
      <pc:sldChg chg="modSp mod">
        <pc:chgData name="CC - Chand Chopra" userId="147050ee-f902-4a1c-a393-8ccdd2b31d6c" providerId="ADAL" clId="{8B2CA60D-50CA-44D3-A22B-1B60C7341764}" dt="2023-04-21T07:11:34.551" v="30" actId="1076"/>
        <pc:sldMkLst>
          <pc:docMk/>
          <pc:sldMk cId="4067580488" sldId="266"/>
        </pc:sldMkLst>
        <pc:spChg chg="mod">
          <ac:chgData name="CC - Chand Chopra" userId="147050ee-f902-4a1c-a393-8ccdd2b31d6c" providerId="ADAL" clId="{8B2CA60D-50CA-44D3-A22B-1B60C7341764}" dt="2023-04-21T07:11:34.551" v="30" actId="1076"/>
          <ac:spMkLst>
            <pc:docMk/>
            <pc:sldMk cId="4067580488" sldId="266"/>
            <ac:spMk id="9" creationId="{871B76C6-C1C4-8811-20EF-008610F587F1}"/>
          </ac:spMkLst>
        </pc:spChg>
      </pc:sldChg>
      <pc:sldChg chg="modSp mod">
        <pc:chgData name="CC - Chand Chopra" userId="147050ee-f902-4a1c-a393-8ccdd2b31d6c" providerId="ADAL" clId="{8B2CA60D-50CA-44D3-A22B-1B60C7341764}" dt="2023-04-21T07:13:33.700" v="34" actId="11"/>
        <pc:sldMkLst>
          <pc:docMk/>
          <pc:sldMk cId="4020399168" sldId="267"/>
        </pc:sldMkLst>
        <pc:spChg chg="mod">
          <ac:chgData name="CC - Chand Chopra" userId="147050ee-f902-4a1c-a393-8ccdd2b31d6c" providerId="ADAL" clId="{8B2CA60D-50CA-44D3-A22B-1B60C7341764}" dt="2023-04-21T07:13:33.700" v="34" actId="11"/>
          <ac:spMkLst>
            <pc:docMk/>
            <pc:sldMk cId="4020399168" sldId="267"/>
            <ac:spMk id="2" creationId="{73FF9E05-A25C-1FE2-FEE7-65F3014A672C}"/>
          </ac:spMkLst>
        </pc:spChg>
      </pc:sldChg>
      <pc:sldChg chg="addSp delSp modSp mod modClrScheme chgLayout">
        <pc:chgData name="CC - Chand Chopra" userId="147050ee-f902-4a1c-a393-8ccdd2b31d6c" providerId="ADAL" clId="{8B2CA60D-50CA-44D3-A22B-1B60C7341764}" dt="2023-04-21T07:09:43.403" v="12" actId="478"/>
        <pc:sldMkLst>
          <pc:docMk/>
          <pc:sldMk cId="2425724653" sldId="268"/>
        </pc:sldMkLst>
        <pc:spChg chg="add mod ord">
          <ac:chgData name="CC - Chand Chopra" userId="147050ee-f902-4a1c-a393-8ccdd2b31d6c" providerId="ADAL" clId="{8B2CA60D-50CA-44D3-A22B-1B60C7341764}" dt="2023-04-21T07:09:27.013" v="9" actId="700"/>
          <ac:spMkLst>
            <pc:docMk/>
            <pc:sldMk cId="2425724653" sldId="268"/>
            <ac:spMk id="2" creationId="{EA2D46C4-882B-473E-6BA2-D83A3B14A25F}"/>
          </ac:spMkLst>
        </pc:spChg>
        <pc:spChg chg="add del mod ord">
          <ac:chgData name="CC - Chand Chopra" userId="147050ee-f902-4a1c-a393-8ccdd2b31d6c" providerId="ADAL" clId="{8B2CA60D-50CA-44D3-A22B-1B60C7341764}" dt="2023-04-21T07:09:43.403" v="12" actId="478"/>
          <ac:spMkLst>
            <pc:docMk/>
            <pc:sldMk cId="2425724653" sldId="268"/>
            <ac:spMk id="3" creationId="{FA0665A2-1184-9CFC-603E-725A7C8E8AA1}"/>
          </ac:spMkLst>
        </pc:spChg>
        <pc:spChg chg="mod ord">
          <ac:chgData name="CC - Chand Chopra" userId="147050ee-f902-4a1c-a393-8ccdd2b31d6c" providerId="ADAL" clId="{8B2CA60D-50CA-44D3-A22B-1B60C7341764}" dt="2023-04-21T07:09:27.013" v="9" actId="700"/>
          <ac:spMkLst>
            <pc:docMk/>
            <pc:sldMk cId="2425724653" sldId="268"/>
            <ac:spMk id="4" creationId="{64B5BC52-7552-663E-7D98-0C241961BA3A}"/>
          </ac:spMkLst>
        </pc:spChg>
        <pc:spChg chg="mod ord">
          <ac:chgData name="CC - Chand Chopra" userId="147050ee-f902-4a1c-a393-8ccdd2b31d6c" providerId="ADAL" clId="{8B2CA60D-50CA-44D3-A22B-1B60C7341764}" dt="2023-04-21T07:09:27.013" v="9" actId="700"/>
          <ac:spMkLst>
            <pc:docMk/>
            <pc:sldMk cId="2425724653" sldId="268"/>
            <ac:spMk id="5" creationId="{9172A2E2-223C-A9C9-B4B0-A967A44F61DD}"/>
          </ac:spMkLst>
        </pc:spChg>
        <pc:spChg chg="mod ord">
          <ac:chgData name="CC - Chand Chopra" userId="147050ee-f902-4a1c-a393-8ccdd2b31d6c" providerId="ADAL" clId="{8B2CA60D-50CA-44D3-A22B-1B60C7341764}" dt="2023-04-21T07:09:27.013" v="9" actId="700"/>
          <ac:spMkLst>
            <pc:docMk/>
            <pc:sldMk cId="2425724653" sldId="268"/>
            <ac:spMk id="6" creationId="{34AF3B16-95B3-F5C3-8BC3-E57243EC39EC}"/>
          </ac:spMkLst>
        </pc:spChg>
        <pc:spChg chg="del mod ord">
          <ac:chgData name="CC - Chand Chopra" userId="147050ee-f902-4a1c-a393-8ccdd2b31d6c" providerId="ADAL" clId="{8B2CA60D-50CA-44D3-A22B-1B60C7341764}" dt="2023-04-21T07:09:27.013" v="9" actId="700"/>
          <ac:spMkLst>
            <pc:docMk/>
            <pc:sldMk cId="2425724653" sldId="268"/>
            <ac:spMk id="7" creationId="{3CBF1851-813E-CC86-C82D-A0C8F6CBEB0D}"/>
          </ac:spMkLst>
        </pc:spChg>
        <pc:spChg chg="add del">
          <ac:chgData name="CC - Chand Chopra" userId="147050ee-f902-4a1c-a393-8ccdd2b31d6c" providerId="ADAL" clId="{8B2CA60D-50CA-44D3-A22B-1B60C7341764}" dt="2023-04-21T07:09:38.356" v="11" actId="478"/>
          <ac:spMkLst>
            <pc:docMk/>
            <pc:sldMk cId="2425724653" sldId="268"/>
            <ac:spMk id="8" creationId="{261A3CEB-81EE-5B01-1F2B-BAB101C9FF54}"/>
          </ac:spMkLst>
        </pc:spChg>
      </pc:sldChg>
    </pc:docChg>
  </pc:docChgLst>
  <pc:docChgLst>
    <pc:chgData name="CC - Chand Chopra" userId="S::cc@vnr.de::147050ee-f902-4a1c-a393-8ccdd2b31d6c" providerId="AD" clId="Web-{6EDC6867-DAF4-F026-2E04-2BF5DA8E00DB}"/>
    <pc:docChg chg="modSld">
      <pc:chgData name="CC - Chand Chopra" userId="S::cc@vnr.de::147050ee-f902-4a1c-a393-8ccdd2b31d6c" providerId="AD" clId="Web-{6EDC6867-DAF4-F026-2E04-2BF5DA8E00DB}" dt="2023-04-21T12:32:59.099" v="24" actId="1076"/>
      <pc:docMkLst>
        <pc:docMk/>
      </pc:docMkLst>
      <pc:sldChg chg="modSp">
        <pc:chgData name="CC - Chand Chopra" userId="S::cc@vnr.de::147050ee-f902-4a1c-a393-8ccdd2b31d6c" providerId="AD" clId="Web-{6EDC6867-DAF4-F026-2E04-2BF5DA8E00DB}" dt="2023-04-21T12:32:42.363" v="19" actId="1076"/>
        <pc:sldMkLst>
          <pc:docMk/>
          <pc:sldMk cId="1313472224" sldId="262"/>
        </pc:sldMkLst>
        <pc:spChg chg="mod">
          <ac:chgData name="CC - Chand Chopra" userId="S::cc@vnr.de::147050ee-f902-4a1c-a393-8ccdd2b31d6c" providerId="AD" clId="Web-{6EDC6867-DAF4-F026-2E04-2BF5DA8E00DB}" dt="2023-04-21T12:32:42.363" v="19" actId="1076"/>
          <ac:spMkLst>
            <pc:docMk/>
            <pc:sldMk cId="1313472224" sldId="262"/>
            <ac:spMk id="9" creationId="{93843749-18BA-A1F9-1172-0E679EA85CD6}"/>
          </ac:spMkLst>
        </pc:spChg>
      </pc:sldChg>
      <pc:sldChg chg="modSp">
        <pc:chgData name="CC - Chand Chopra" userId="S::cc@vnr.de::147050ee-f902-4a1c-a393-8ccdd2b31d6c" providerId="AD" clId="Web-{6EDC6867-DAF4-F026-2E04-2BF5DA8E00DB}" dt="2023-04-21T12:32:25.096" v="10" actId="20577"/>
        <pc:sldMkLst>
          <pc:docMk/>
          <pc:sldMk cId="4020399168" sldId="267"/>
        </pc:sldMkLst>
        <pc:spChg chg="mod">
          <ac:chgData name="CC - Chand Chopra" userId="S::cc@vnr.de::147050ee-f902-4a1c-a393-8ccdd2b31d6c" providerId="AD" clId="Web-{6EDC6867-DAF4-F026-2E04-2BF5DA8E00DB}" dt="2023-04-21T12:32:25.096" v="10" actId="20577"/>
          <ac:spMkLst>
            <pc:docMk/>
            <pc:sldMk cId="4020399168" sldId="267"/>
            <ac:spMk id="2" creationId="{73FF9E05-A25C-1FE2-FEE7-65F3014A672C}"/>
          </ac:spMkLst>
        </pc:spChg>
        <pc:spChg chg="mod">
          <ac:chgData name="CC - Chand Chopra" userId="S::cc@vnr.de::147050ee-f902-4a1c-a393-8ccdd2b31d6c" providerId="AD" clId="Web-{6EDC6867-DAF4-F026-2E04-2BF5DA8E00DB}" dt="2023-04-21T12:32:13.939" v="8" actId="20577"/>
          <ac:spMkLst>
            <pc:docMk/>
            <pc:sldMk cId="4020399168" sldId="267"/>
            <ac:spMk id="9" creationId="{E1416C8A-FE6E-9D6E-C21A-8CD60A7D0C95}"/>
          </ac:spMkLst>
        </pc:spChg>
      </pc:sldChg>
      <pc:sldChg chg="modSp">
        <pc:chgData name="CC - Chand Chopra" userId="S::cc@vnr.de::147050ee-f902-4a1c-a393-8ccdd2b31d6c" providerId="AD" clId="Web-{6EDC6867-DAF4-F026-2E04-2BF5DA8E00DB}" dt="2023-04-21T12:32:59.099" v="24" actId="1076"/>
        <pc:sldMkLst>
          <pc:docMk/>
          <pc:sldMk cId="2425724653" sldId="268"/>
        </pc:sldMkLst>
        <pc:spChg chg="mod">
          <ac:chgData name="CC - Chand Chopra" userId="S::cc@vnr.de::147050ee-f902-4a1c-a393-8ccdd2b31d6c" providerId="AD" clId="Web-{6EDC6867-DAF4-F026-2E04-2BF5DA8E00DB}" dt="2023-04-21T12:32:59.099" v="24" actId="1076"/>
          <ac:spMkLst>
            <pc:docMk/>
            <pc:sldMk cId="2425724653" sldId="268"/>
            <ac:spMk id="10" creationId="{7CB574C2-3849-935B-1065-C549FF6B3EE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2.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2.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91539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870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58359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57539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4843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55897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7583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37595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80206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3851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86326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4277578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47530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58103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386389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43801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87437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51264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0089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9639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00658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59064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14812940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7.xm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Person, Im Haus, Techniker, Kleidung enthält.&#10;&#10;Automatisch generierte Beschreibung">
            <a:extLst>
              <a:ext uri="{FF2B5EF4-FFF2-40B4-BE49-F238E27FC236}">
                <a16:creationId xmlns:a16="http://schemas.microsoft.com/office/drawing/2014/main" id="{D9285162-E226-17C2-EF81-EC2AAAC8A58F}"/>
              </a:ext>
            </a:extLst>
          </p:cNvPr>
          <p:cNvPicPr>
            <a:picLocks noGrp="1" noChangeAspect="1"/>
          </p:cNvPicPr>
          <p:nvPr>
            <p:ph type="pic" sz="quarter" idx="23"/>
          </p:nvPr>
        </p:nvPicPr>
        <p:blipFill>
          <a:blip r:embed="rId2"/>
          <a:srcRect l="9007" r="9007"/>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Augenschutz</a:t>
            </a:r>
          </a:p>
        </p:txBody>
      </p:sp>
      <p:sp>
        <p:nvSpPr>
          <p:cNvPr id="5" name="Textplatzhalter 4">
            <a:extLst>
              <a:ext uri="{FF2B5EF4-FFF2-40B4-BE49-F238E27FC236}">
                <a16:creationId xmlns:a16="http://schemas.microsoft.com/office/drawing/2014/main" id="{7990A601-6B3E-0108-1F16-6DC91AFD4982}"/>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a:t>
            </a:r>
            <a:r>
              <a:rPr lang="de-DE"/>
              <a:t>Ihre Aufmerksamkeit</a:t>
            </a:r>
          </a:p>
        </p:txBody>
      </p:sp>
      <p:sp>
        <p:nvSpPr>
          <p:cNvPr id="2" name="Textplatzhalter 1">
            <a:extLst>
              <a:ext uri="{FF2B5EF4-FFF2-40B4-BE49-F238E27FC236}">
                <a16:creationId xmlns:a16="http://schemas.microsoft.com/office/drawing/2014/main" id="{BA8E7665-D946-0CA0-55FB-69976402558A}"/>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32AE3760-4FFB-D93C-02CE-81F02E6E2E6A}"/>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3655F7F2-B163-7193-BB03-0FD580EE5BC3}"/>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668313EA-BDF4-C8C8-847E-5240A99EF9AA}"/>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938E7075-17D0-04AD-9DB0-281B9F0A20F6}"/>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30550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1</a:t>
            </a:fld>
            <a:endParaRPr lang="de-DE" dirty="0"/>
          </a:p>
        </p:txBody>
      </p:sp>
    </p:spTree>
    <p:extLst>
      <p:ext uri="{BB962C8B-B14F-4D97-AF65-F5344CB8AC3E}">
        <p14:creationId xmlns:p14="http://schemas.microsoft.com/office/powerpoint/2010/main" val="3900022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34AF3B16-95B3-F5C3-8BC3-E57243EC39EC}"/>
              </a:ext>
            </a:extLst>
          </p:cNvPr>
          <p:cNvSpPr>
            <a:spLocks noGrp="1"/>
          </p:cNvSpPr>
          <p:nvPr>
            <p:ph type="title"/>
          </p:nvPr>
        </p:nvSpPr>
        <p:spPr/>
        <p:txBody>
          <a:bodyPr/>
          <a:lstStyle/>
          <a:p>
            <a:r>
              <a:rPr lang="de-DE" sz="2800" dirty="0"/>
              <a:t>Definition von Augenschutz</a:t>
            </a:r>
            <a:endParaRPr lang="de-DE" dirty="0"/>
          </a:p>
        </p:txBody>
      </p:sp>
      <p:sp>
        <p:nvSpPr>
          <p:cNvPr id="4" name="Fußzeilenplatzhalter 3">
            <a:extLst>
              <a:ext uri="{FF2B5EF4-FFF2-40B4-BE49-F238E27FC236}">
                <a16:creationId xmlns:a16="http://schemas.microsoft.com/office/drawing/2014/main" id="{64B5BC52-7552-663E-7D98-0C241961BA3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172A2E2-223C-A9C9-B4B0-A967A44F61DD}"/>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ED547F70-1630-6C60-69EE-3736A96BB4F5}"/>
              </a:ext>
            </a:extLst>
          </p:cNvPr>
          <p:cNvSpPr>
            <a:spLocks noGrp="1"/>
          </p:cNvSpPr>
          <p:nvPr>
            <p:ph type="body" sz="quarter" idx="18"/>
          </p:nvPr>
        </p:nvSpPr>
        <p:spPr/>
        <p:txBody>
          <a:bodyPr/>
          <a:lstStyle/>
          <a:p>
            <a:endParaRPr lang="de-DE"/>
          </a:p>
        </p:txBody>
      </p:sp>
      <p:sp>
        <p:nvSpPr>
          <p:cNvPr id="8" name="Inhaltsplatzhalter 3">
            <a:extLst>
              <a:ext uri="{FF2B5EF4-FFF2-40B4-BE49-F238E27FC236}">
                <a16:creationId xmlns:a16="http://schemas.microsoft.com/office/drawing/2014/main" id="{261A3CEB-81EE-5B01-1F2B-BAB101C9FF54}"/>
              </a:ext>
            </a:extLst>
          </p:cNvPr>
          <p:cNvSpPr txBox="1">
            <a:spLocks/>
          </p:cNvSpPr>
          <p:nvPr/>
        </p:nvSpPr>
        <p:spPr bwMode="gray">
          <a:xfrm>
            <a:off x="535364" y="1501337"/>
            <a:ext cx="11137900" cy="2181198"/>
          </a:xfrm>
          <a:prstGeom prst="rect">
            <a:avLst/>
          </a:prstGeom>
          <a:noFill/>
        </p:spPr>
        <p:txBody>
          <a:bodyPr vert="horz" lIns="0" tIns="0" rIns="0" bIns="0" rtlCol="0" anchor="ctr"/>
          <a:lstStyle>
            <a:defPPr>
              <a:defRPr lang="de-DE"/>
            </a:defPPr>
            <a:lvl1pPr marL="0" algn="l" defTabSz="914400" rtl="0" eaLnBrk="1" latinLnBrk="0" hangingPunct="1">
              <a:defRPr sz="1000" kern="1200">
                <a:solidFill>
                  <a:schemeClr val="bg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Augenschutz bezeichnet alle Schutzausrüstungen, die dem Schutz vor jeglichen Verletzungen (durch UV-Strahlungen, Chemikalien, Staub …) am Augen dienen. </a:t>
            </a:r>
          </a:p>
          <a:p>
            <a:pPr marL="342900" indent="-342900">
              <a:buClr>
                <a:schemeClr val="accent1"/>
              </a:buClr>
              <a:buFont typeface="Wingdings" panose="05000000000000000000" pitchFamily="2" charset="2"/>
              <a:buChar char="§"/>
            </a:pPr>
            <a:endParaRPr lang="de-DE" sz="2400" dirty="0">
              <a:solidFill>
                <a:schemeClr val="bg1">
                  <a:lumMod val="50000"/>
                </a:schemeClr>
              </a:solidFill>
            </a:endParaRPr>
          </a:p>
          <a:p>
            <a:pPr marL="342900" indent="-342900">
              <a:buClr>
                <a:schemeClr val="accent1"/>
              </a:buClr>
              <a:buFont typeface="Wingdings" panose="05000000000000000000" pitchFamily="2" charset="2"/>
              <a:buChar char="§"/>
            </a:pPr>
            <a:r>
              <a:rPr lang="de-DE" sz="2400" dirty="0">
                <a:solidFill>
                  <a:schemeClr val="bg1">
                    <a:lumMod val="50000"/>
                  </a:schemeClr>
                </a:solidFill>
              </a:rPr>
              <a:t>Schutzbrillen unterliegen, wie auch alle übrigen Teile der Persönlichen Schutzausrüstung (PSA), in Europa der EU-Richtlinie 89/686/EWG. </a:t>
            </a:r>
          </a:p>
          <a:p>
            <a:endParaRPr lang="de-DE" dirty="0"/>
          </a:p>
        </p:txBody>
      </p:sp>
      <p:pic>
        <p:nvPicPr>
          <p:cNvPr id="9" name="Grafik 8">
            <a:extLst>
              <a:ext uri="{FF2B5EF4-FFF2-40B4-BE49-F238E27FC236}">
                <a16:creationId xmlns:a16="http://schemas.microsoft.com/office/drawing/2014/main" id="{D1E7F334-7A7D-158F-5011-C4DC73D8464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536" y="3933056"/>
            <a:ext cx="2160240" cy="2160240"/>
          </a:xfrm>
          <a:prstGeom prst="rect">
            <a:avLst/>
          </a:prstGeom>
        </p:spPr>
      </p:pic>
      <p:sp>
        <p:nvSpPr>
          <p:cNvPr id="10" name="Textfeld 1">
            <a:extLst>
              <a:ext uri="{FF2B5EF4-FFF2-40B4-BE49-F238E27FC236}">
                <a16:creationId xmlns:a16="http://schemas.microsoft.com/office/drawing/2014/main" id="{7CB574C2-3849-935B-1065-C549FF6B3EEA}"/>
              </a:ext>
            </a:extLst>
          </p:cNvPr>
          <p:cNvSpPr txBox="1"/>
          <p:nvPr/>
        </p:nvSpPr>
        <p:spPr>
          <a:xfrm>
            <a:off x="6094263" y="5873353"/>
            <a:ext cx="1518636" cy="276999"/>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34732397</a:t>
            </a:r>
          </a:p>
        </p:txBody>
      </p:sp>
    </p:spTree>
    <p:extLst>
      <p:ext uri="{BB962C8B-B14F-4D97-AF65-F5344CB8AC3E}">
        <p14:creationId xmlns:p14="http://schemas.microsoft.com/office/powerpoint/2010/main" val="242572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21DB08-D23A-4B6D-CA68-D9E2A56223E0}"/>
              </a:ext>
            </a:extLst>
          </p:cNvPr>
          <p:cNvSpPr>
            <a:spLocks noGrp="1"/>
          </p:cNvSpPr>
          <p:nvPr>
            <p:ph type="title"/>
          </p:nvPr>
        </p:nvSpPr>
        <p:spPr/>
        <p:txBody>
          <a:bodyPr/>
          <a:lstStyle/>
          <a:p>
            <a:r>
              <a:rPr lang="de-DE" sz="2800" dirty="0"/>
              <a:t>Welche Augenschutz-Arten gibt es?</a:t>
            </a:r>
            <a:endParaRPr lang="de-DE" dirty="0"/>
          </a:p>
        </p:txBody>
      </p:sp>
      <p:sp>
        <p:nvSpPr>
          <p:cNvPr id="2" name="Inhaltsplatzhalter 1">
            <a:extLst>
              <a:ext uri="{FF2B5EF4-FFF2-40B4-BE49-F238E27FC236}">
                <a16:creationId xmlns:a16="http://schemas.microsoft.com/office/drawing/2014/main" id="{A7819CAA-F86F-C404-74B4-35AE91ADCC44}"/>
              </a:ext>
            </a:extLst>
          </p:cNvPr>
          <p:cNvSpPr>
            <a:spLocks noGrp="1"/>
          </p:cNvSpPr>
          <p:nvPr>
            <p:ph sz="quarter" idx="19"/>
          </p:nvPr>
        </p:nvSpPr>
        <p:spPr>
          <a:xfrm>
            <a:off x="527051" y="1601093"/>
            <a:ext cx="6462679" cy="4495434"/>
          </a:xfrm>
        </p:spPr>
        <p:txBody>
          <a:bodyPr/>
          <a:lstStyle/>
          <a:p>
            <a:pPr marL="0" indent="0">
              <a:spcBef>
                <a:spcPts val="0"/>
              </a:spcBef>
              <a:buNone/>
            </a:pPr>
            <a:r>
              <a:rPr lang="de-DE" altLang="de-DE" sz="2400" b="1" u="sng" dirty="0" err="1">
                <a:ea typeface="Arial" charset="0"/>
                <a:cs typeface="Arial" charset="0"/>
              </a:rPr>
              <a:t>Gestellbrille</a:t>
            </a:r>
            <a:endParaRPr lang="de-DE" altLang="de-DE" sz="2400" b="1" u="sng" dirty="0">
              <a:ea typeface="Arial" charset="0"/>
              <a:cs typeface="Arial" charset="0"/>
            </a:endParaRPr>
          </a:p>
          <a:p>
            <a:pPr marL="0" indent="0">
              <a:spcBef>
                <a:spcPts val="0"/>
              </a:spcBef>
              <a:buNone/>
            </a:pPr>
            <a:r>
              <a:rPr lang="de-DE" altLang="de-DE" sz="2400" dirty="0">
                <a:ea typeface="Arial" charset="0"/>
                <a:cs typeface="Arial" charset="0"/>
              </a:rPr>
              <a:t>Kann mit Ohrbügeln/ Tragehilfen am Helm befestigt werden.</a:t>
            </a:r>
          </a:p>
          <a:p>
            <a:pPr marL="0" indent="0">
              <a:spcBef>
                <a:spcPts val="0"/>
              </a:spcBef>
              <a:buNone/>
            </a:pPr>
            <a:endParaRPr lang="de-DE" altLang="de-DE" sz="2400" b="1" u="sng" dirty="0">
              <a:ea typeface="Arial" charset="0"/>
              <a:cs typeface="Arial" charset="0"/>
            </a:endParaRPr>
          </a:p>
          <a:p>
            <a:pPr marL="0" indent="0">
              <a:spcBef>
                <a:spcPts val="0"/>
              </a:spcBef>
              <a:buNone/>
            </a:pPr>
            <a:r>
              <a:rPr lang="de-DE" altLang="de-DE" sz="2400" b="1" u="sng" dirty="0">
                <a:ea typeface="Arial" charset="0"/>
                <a:cs typeface="Arial" charset="0"/>
              </a:rPr>
              <a:t>Korbbrille</a:t>
            </a:r>
          </a:p>
          <a:p>
            <a:pPr marL="0" indent="0">
              <a:spcBef>
                <a:spcPts val="0"/>
              </a:spcBef>
              <a:buNone/>
            </a:pPr>
            <a:r>
              <a:rPr lang="de-DE" altLang="de-DE" sz="2400" dirty="0">
                <a:ea typeface="Arial" charset="0"/>
                <a:cs typeface="Arial" charset="0"/>
              </a:rPr>
              <a:t>Ist aus elastischem Material und umschließt die Augenpartie komplett</a:t>
            </a:r>
          </a:p>
          <a:p>
            <a:pPr marL="0" indent="0">
              <a:spcBef>
                <a:spcPct val="50000"/>
              </a:spcBef>
              <a:buNone/>
            </a:pPr>
            <a:br>
              <a:rPr lang="de-DE" altLang="de-DE" sz="2400" b="1" u="sng" dirty="0">
                <a:ea typeface="Arial" charset="0"/>
                <a:cs typeface="Arial" charset="0"/>
              </a:rPr>
            </a:br>
            <a:r>
              <a:rPr lang="de-DE" altLang="de-DE" sz="2400" b="1" u="sng" dirty="0">
                <a:ea typeface="Arial" charset="0"/>
                <a:cs typeface="Arial" charset="0"/>
              </a:rPr>
              <a:t>Korrektionsschutzbrille</a:t>
            </a:r>
            <a:r>
              <a:rPr lang="de-DE" altLang="de-DE" sz="2400" dirty="0">
                <a:ea typeface="Arial" charset="0"/>
                <a:cs typeface="Arial" charset="0"/>
              </a:rPr>
              <a:t> </a:t>
            </a:r>
            <a:br>
              <a:rPr lang="de-DE" altLang="de-DE" sz="2400" dirty="0">
                <a:ea typeface="Arial" charset="0"/>
                <a:cs typeface="Arial" charset="0"/>
              </a:rPr>
            </a:br>
            <a:r>
              <a:rPr lang="de-DE" altLang="de-DE" sz="2400" dirty="0">
                <a:ea typeface="Arial" charset="0"/>
                <a:cs typeface="Arial" charset="0"/>
              </a:rPr>
              <a:t>meist </a:t>
            </a:r>
            <a:r>
              <a:rPr lang="de-DE" altLang="de-DE" sz="2400" dirty="0" err="1">
                <a:ea typeface="Arial" charset="0"/>
                <a:cs typeface="Arial" charset="0"/>
              </a:rPr>
              <a:t>Gestellbrille</a:t>
            </a:r>
            <a:r>
              <a:rPr lang="de-DE" altLang="de-DE" sz="2400" dirty="0">
                <a:ea typeface="Arial" charset="0"/>
                <a:cs typeface="Arial" charset="0"/>
              </a:rPr>
              <a:t> mit optisch korrigierender Wirkung</a:t>
            </a:r>
          </a:p>
          <a:p>
            <a:endParaRPr lang="de-DE" dirty="0"/>
          </a:p>
        </p:txBody>
      </p:sp>
      <p:sp>
        <p:nvSpPr>
          <p:cNvPr id="4" name="Fußzeilenplatzhalter 3">
            <a:extLst>
              <a:ext uri="{FF2B5EF4-FFF2-40B4-BE49-F238E27FC236}">
                <a16:creationId xmlns:a16="http://schemas.microsoft.com/office/drawing/2014/main" id="{4F4B7B61-4AC6-F927-1D87-CFABC9D2B61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164B46B4-23A0-E62C-87C4-C483D19C13DC}"/>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3" name="Textplatzhalter 2">
            <a:extLst>
              <a:ext uri="{FF2B5EF4-FFF2-40B4-BE49-F238E27FC236}">
                <a16:creationId xmlns:a16="http://schemas.microsoft.com/office/drawing/2014/main" id="{241CD183-EB90-6839-CF14-E41CD4EFF8D0}"/>
              </a:ext>
            </a:extLst>
          </p:cNvPr>
          <p:cNvSpPr>
            <a:spLocks noGrp="1"/>
          </p:cNvSpPr>
          <p:nvPr>
            <p:ph type="body" sz="quarter" idx="18"/>
          </p:nvPr>
        </p:nvSpPr>
        <p:spPr/>
        <p:txBody>
          <a:bodyPr/>
          <a:lstStyle/>
          <a:p>
            <a:endParaRPr lang="de-DE"/>
          </a:p>
        </p:txBody>
      </p:sp>
      <p:pic>
        <p:nvPicPr>
          <p:cNvPr id="8" name="Picture 5" descr="9137_hellgrau">
            <a:extLst>
              <a:ext uri="{FF2B5EF4-FFF2-40B4-BE49-F238E27FC236}">
                <a16:creationId xmlns:a16="http://schemas.microsoft.com/office/drawing/2014/main" id="{34CC5F5A-E60E-40D0-4428-D04A00EF169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06666" y="1601093"/>
            <a:ext cx="3282205" cy="1154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pic>
      <p:sp>
        <p:nvSpPr>
          <p:cNvPr id="11" name="Textfeld 1">
            <a:extLst>
              <a:ext uri="{FF2B5EF4-FFF2-40B4-BE49-F238E27FC236}">
                <a16:creationId xmlns:a16="http://schemas.microsoft.com/office/drawing/2014/main" id="{149D7436-58E2-4A50-73B4-E0971810D692}"/>
              </a:ext>
            </a:extLst>
          </p:cNvPr>
          <p:cNvSpPr txBox="1"/>
          <p:nvPr/>
        </p:nvSpPr>
        <p:spPr>
          <a:xfrm>
            <a:off x="9168623" y="2509347"/>
            <a:ext cx="128047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pic>
        <p:nvPicPr>
          <p:cNvPr id="12" name="Picture 4" descr="9301_714">
            <a:extLst>
              <a:ext uri="{FF2B5EF4-FFF2-40B4-BE49-F238E27FC236}">
                <a16:creationId xmlns:a16="http://schemas.microsoft.com/office/drawing/2014/main" id="{4A51B097-50CD-1E49-80EA-B065E58B1EA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27777" y="3167380"/>
            <a:ext cx="2983274" cy="12748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pic>
      <p:sp>
        <p:nvSpPr>
          <p:cNvPr id="13" name="Textfeld 1">
            <a:extLst>
              <a:ext uri="{FF2B5EF4-FFF2-40B4-BE49-F238E27FC236}">
                <a16:creationId xmlns:a16="http://schemas.microsoft.com/office/drawing/2014/main" id="{7A85093E-C526-4A74-A21B-63077580FF55}"/>
              </a:ext>
            </a:extLst>
          </p:cNvPr>
          <p:cNvSpPr txBox="1"/>
          <p:nvPr/>
        </p:nvSpPr>
        <p:spPr>
          <a:xfrm>
            <a:off x="9168622" y="4209243"/>
            <a:ext cx="128047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pic>
        <p:nvPicPr>
          <p:cNvPr id="14" name="Picture 6" descr="F900_blau">
            <a:extLst>
              <a:ext uri="{FF2B5EF4-FFF2-40B4-BE49-F238E27FC236}">
                <a16:creationId xmlns:a16="http://schemas.microsoft.com/office/drawing/2014/main" id="{BC607856-F437-1377-D436-B2735EABFCD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27776" y="4919214"/>
            <a:ext cx="3055067" cy="1035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pic>
      <p:sp>
        <p:nvSpPr>
          <p:cNvPr id="15" name="Textfeld 1">
            <a:extLst>
              <a:ext uri="{FF2B5EF4-FFF2-40B4-BE49-F238E27FC236}">
                <a16:creationId xmlns:a16="http://schemas.microsoft.com/office/drawing/2014/main" id="{85D32026-75DD-5217-C7D3-72D1A6932200}"/>
              </a:ext>
            </a:extLst>
          </p:cNvPr>
          <p:cNvSpPr txBox="1"/>
          <p:nvPr/>
        </p:nvSpPr>
        <p:spPr>
          <a:xfrm>
            <a:off x="9179702" y="5812282"/>
            <a:ext cx="128047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Tree>
    <p:extLst>
      <p:ext uri="{BB962C8B-B14F-4D97-AF65-F5344CB8AC3E}">
        <p14:creationId xmlns:p14="http://schemas.microsoft.com/office/powerpoint/2010/main" val="344709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987E6D5-73CF-117C-3F99-23CBCC02E9A2}"/>
              </a:ext>
            </a:extLst>
          </p:cNvPr>
          <p:cNvSpPr>
            <a:spLocks noGrp="1"/>
          </p:cNvSpPr>
          <p:nvPr>
            <p:ph type="title"/>
          </p:nvPr>
        </p:nvSpPr>
        <p:spPr/>
        <p:txBody>
          <a:bodyPr/>
          <a:lstStyle/>
          <a:p>
            <a:r>
              <a:rPr lang="de-DE" sz="2800" dirty="0"/>
              <a:t>Welche Arten von Augenschutz gibt es?</a:t>
            </a:r>
            <a:endParaRPr lang="de-DE" dirty="0"/>
          </a:p>
        </p:txBody>
      </p:sp>
      <p:sp>
        <p:nvSpPr>
          <p:cNvPr id="2" name="Inhaltsplatzhalter 1">
            <a:extLst>
              <a:ext uri="{FF2B5EF4-FFF2-40B4-BE49-F238E27FC236}">
                <a16:creationId xmlns:a16="http://schemas.microsoft.com/office/drawing/2014/main" id="{786271C5-012D-8FE1-22F3-4E8880E12BA8}"/>
              </a:ext>
            </a:extLst>
          </p:cNvPr>
          <p:cNvSpPr>
            <a:spLocks noGrp="1"/>
          </p:cNvSpPr>
          <p:nvPr>
            <p:ph sz="quarter" idx="19"/>
          </p:nvPr>
        </p:nvSpPr>
        <p:spPr>
          <a:xfrm>
            <a:off x="527051" y="1601093"/>
            <a:ext cx="6850092" cy="4495434"/>
          </a:xfrm>
        </p:spPr>
        <p:txBody>
          <a:bodyPr/>
          <a:lstStyle/>
          <a:p>
            <a:pPr marL="0" indent="0">
              <a:spcBef>
                <a:spcPts val="0"/>
              </a:spcBef>
              <a:buNone/>
            </a:pPr>
            <a:r>
              <a:rPr lang="de-DE" altLang="de-DE" sz="2400" b="1" u="sng" dirty="0">
                <a:ea typeface="Arial" charset="0"/>
                <a:cs typeface="Arial" charset="0"/>
              </a:rPr>
              <a:t>Schutzschild</a:t>
            </a:r>
            <a:endParaRPr lang="de-DE" altLang="de-DE" sz="2400" u="sng" dirty="0">
              <a:ea typeface="Arial" charset="0"/>
              <a:cs typeface="Arial" charset="0"/>
            </a:endParaRPr>
          </a:p>
          <a:p>
            <a:pPr marL="0" indent="0">
              <a:spcBef>
                <a:spcPts val="0"/>
              </a:spcBef>
              <a:buNone/>
            </a:pPr>
            <a:r>
              <a:rPr lang="de-DE" altLang="de-DE" sz="2400" dirty="0">
                <a:ea typeface="Arial" charset="0"/>
                <a:cs typeface="Arial" charset="0"/>
              </a:rPr>
              <a:t>Ausrüstung, die mit der Hand gehalten wird;</a:t>
            </a:r>
            <a:br>
              <a:rPr lang="de-DE" altLang="de-DE" sz="2400" dirty="0">
                <a:ea typeface="Arial" charset="0"/>
                <a:cs typeface="Arial" charset="0"/>
              </a:rPr>
            </a:br>
            <a:r>
              <a:rPr lang="de-DE" altLang="de-DE" sz="2400" dirty="0">
                <a:ea typeface="Arial" charset="0"/>
                <a:cs typeface="Arial" charset="0"/>
              </a:rPr>
              <a:t>schützt Gesicht und Hals </a:t>
            </a:r>
          </a:p>
          <a:p>
            <a:pPr marL="0" indent="0">
              <a:spcBef>
                <a:spcPts val="0"/>
              </a:spcBef>
              <a:buNone/>
            </a:pPr>
            <a:endParaRPr lang="de-DE" altLang="de-DE" sz="2400" b="1" u="sng" dirty="0">
              <a:ea typeface="Arial" charset="0"/>
              <a:cs typeface="Arial" charset="0"/>
            </a:endParaRPr>
          </a:p>
          <a:p>
            <a:pPr marL="0" indent="0">
              <a:spcBef>
                <a:spcPts val="0"/>
              </a:spcBef>
              <a:buNone/>
            </a:pPr>
            <a:endParaRPr lang="de-DE" altLang="de-DE" sz="2400" b="1" u="sng" dirty="0">
              <a:ea typeface="Arial" charset="0"/>
              <a:cs typeface="Arial" charset="0"/>
            </a:endParaRPr>
          </a:p>
          <a:p>
            <a:pPr marL="0" indent="0">
              <a:spcBef>
                <a:spcPts val="0"/>
              </a:spcBef>
              <a:buNone/>
            </a:pPr>
            <a:r>
              <a:rPr lang="de-DE" altLang="de-DE" sz="2400" b="1" u="sng" dirty="0">
                <a:ea typeface="Arial" charset="0"/>
                <a:cs typeface="Arial" charset="0"/>
              </a:rPr>
              <a:t>Schutzschirm, Visier</a:t>
            </a:r>
            <a:endParaRPr lang="de-DE" altLang="de-DE" sz="2400" u="sng" dirty="0">
              <a:ea typeface="Arial" charset="0"/>
              <a:cs typeface="Arial" charset="0"/>
            </a:endParaRPr>
          </a:p>
          <a:p>
            <a:pPr marL="0" indent="0">
              <a:spcBef>
                <a:spcPts val="0"/>
              </a:spcBef>
              <a:buNone/>
            </a:pPr>
            <a:r>
              <a:rPr lang="de-DE" altLang="de-DE" sz="2400" dirty="0">
                <a:ea typeface="Arial" charset="0"/>
                <a:cs typeface="Arial" charset="0"/>
              </a:rPr>
              <a:t>Sicherheitsscheibe, die am Helm oder Kopf befestigt werden kann;</a:t>
            </a:r>
            <a:br>
              <a:rPr lang="de-DE" altLang="de-DE" sz="2400" dirty="0">
                <a:ea typeface="Arial" charset="0"/>
                <a:cs typeface="Arial" charset="0"/>
              </a:rPr>
            </a:br>
            <a:r>
              <a:rPr lang="de-DE" altLang="de-DE" sz="2400" dirty="0">
                <a:ea typeface="Arial" charset="0"/>
                <a:cs typeface="Arial" charset="0"/>
              </a:rPr>
              <a:t>schützt Gesicht und Hals </a:t>
            </a:r>
          </a:p>
          <a:p>
            <a:endParaRPr lang="de-DE" dirty="0"/>
          </a:p>
        </p:txBody>
      </p:sp>
      <p:sp>
        <p:nvSpPr>
          <p:cNvPr id="4" name="Fußzeilenplatzhalter 3">
            <a:extLst>
              <a:ext uri="{FF2B5EF4-FFF2-40B4-BE49-F238E27FC236}">
                <a16:creationId xmlns:a16="http://schemas.microsoft.com/office/drawing/2014/main" id="{CB5EA119-DF13-8A29-D718-129063703CD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4FBAD97-9DD4-C84F-B8B1-874375234BFC}"/>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3" name="Textplatzhalter 2">
            <a:extLst>
              <a:ext uri="{FF2B5EF4-FFF2-40B4-BE49-F238E27FC236}">
                <a16:creationId xmlns:a16="http://schemas.microsoft.com/office/drawing/2014/main" id="{B9978C79-D7B9-F855-6B00-24DFD628CB7F}"/>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2F1C890A-F540-0435-21DF-70D294CFA4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7143" y="1443126"/>
            <a:ext cx="1966361" cy="2621815"/>
          </a:xfrm>
          <a:prstGeom prst="rect">
            <a:avLst/>
          </a:prstGeom>
        </p:spPr>
      </p:pic>
      <p:sp>
        <p:nvSpPr>
          <p:cNvPr id="9" name="Textfeld 1">
            <a:extLst>
              <a:ext uri="{FF2B5EF4-FFF2-40B4-BE49-F238E27FC236}">
                <a16:creationId xmlns:a16="http://schemas.microsoft.com/office/drawing/2014/main" id="{93843749-18BA-A1F9-1172-0E679EA85CD6}"/>
              </a:ext>
            </a:extLst>
          </p:cNvPr>
          <p:cNvSpPr txBox="1"/>
          <p:nvPr/>
        </p:nvSpPr>
        <p:spPr>
          <a:xfrm>
            <a:off x="8285038" y="3785809"/>
            <a:ext cx="1608661" cy="276999"/>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49713833</a:t>
            </a:r>
          </a:p>
        </p:txBody>
      </p:sp>
      <p:pic>
        <p:nvPicPr>
          <p:cNvPr id="10" name="Picture 4">
            <a:extLst>
              <a:ext uri="{FF2B5EF4-FFF2-40B4-BE49-F238E27FC236}">
                <a16:creationId xmlns:a16="http://schemas.microsoft.com/office/drawing/2014/main" id="{85C2613A-8933-D159-8BF7-E4C4A036A85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7274786" y="4207826"/>
            <a:ext cx="2626000" cy="1929449"/>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pic>
      <p:sp>
        <p:nvSpPr>
          <p:cNvPr id="11" name="Textfeld 1">
            <a:extLst>
              <a:ext uri="{FF2B5EF4-FFF2-40B4-BE49-F238E27FC236}">
                <a16:creationId xmlns:a16="http://schemas.microsoft.com/office/drawing/2014/main" id="{670E1296-B083-15B3-5C5E-7B1ABAB39AF9}"/>
              </a:ext>
            </a:extLst>
          </p:cNvPr>
          <p:cNvSpPr txBox="1"/>
          <p:nvPr/>
        </p:nvSpPr>
        <p:spPr>
          <a:xfrm>
            <a:off x="8680490" y="5795359"/>
            <a:ext cx="1103876"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Tree>
    <p:extLst>
      <p:ext uri="{BB962C8B-B14F-4D97-AF65-F5344CB8AC3E}">
        <p14:creationId xmlns:p14="http://schemas.microsoft.com/office/powerpoint/2010/main" val="131347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09E7F5D-D322-6CAB-8336-DA1FD3966582}"/>
              </a:ext>
            </a:extLst>
          </p:cNvPr>
          <p:cNvSpPr>
            <a:spLocks noGrp="1"/>
          </p:cNvSpPr>
          <p:nvPr>
            <p:ph type="title"/>
          </p:nvPr>
        </p:nvSpPr>
        <p:spPr/>
        <p:txBody>
          <a:bodyPr/>
          <a:lstStyle/>
          <a:p>
            <a:r>
              <a:rPr lang="de-DE" sz="2800" dirty="0"/>
              <a:t>Welche Kriterien sind bei der Auswahl des Augenschutzes zu beachten?</a:t>
            </a:r>
            <a:endParaRPr lang="de-DE" dirty="0"/>
          </a:p>
        </p:txBody>
      </p:sp>
      <p:sp>
        <p:nvSpPr>
          <p:cNvPr id="2" name="Inhaltsplatzhalter 1">
            <a:extLst>
              <a:ext uri="{FF2B5EF4-FFF2-40B4-BE49-F238E27FC236}">
                <a16:creationId xmlns:a16="http://schemas.microsoft.com/office/drawing/2014/main" id="{54D1CD5D-F02C-9979-06F3-6E0AF17BC712}"/>
              </a:ext>
            </a:extLst>
          </p:cNvPr>
          <p:cNvSpPr>
            <a:spLocks noGrp="1"/>
          </p:cNvSpPr>
          <p:nvPr>
            <p:ph sz="quarter" idx="19"/>
          </p:nvPr>
        </p:nvSpPr>
        <p:spPr/>
        <p:txBody>
          <a:bodyPr/>
          <a:lstStyle/>
          <a:p>
            <a:pPr marL="0" indent="0">
              <a:buNone/>
            </a:pPr>
            <a:r>
              <a:rPr lang="de-DE" dirty="0">
                <a:solidFill>
                  <a:schemeClr val="bg1">
                    <a:lumMod val="50000"/>
                  </a:schemeClr>
                </a:solidFill>
              </a:rPr>
              <a:t>Wichtig ist, auf die Benutzerfreundlichkeit sowie die etwaigen Beeinträchtigungen zu achten. </a:t>
            </a:r>
          </a:p>
          <a:p>
            <a:pPr marL="0" indent="0">
              <a:buNone/>
            </a:pPr>
            <a:r>
              <a:rPr lang="de-DE" dirty="0">
                <a:solidFill>
                  <a:schemeClr val="bg1">
                    <a:lumMod val="50000"/>
                  </a:schemeClr>
                </a:solidFill>
              </a:rPr>
              <a:t>Weitere Kriterien:</a:t>
            </a:r>
          </a:p>
          <a:p>
            <a:pPr marL="342900" indent="-342900">
              <a:buClr>
                <a:schemeClr val="accent1"/>
              </a:buClr>
              <a:buFont typeface="Symbol" panose="05050102010706020507" pitchFamily="18" charset="2"/>
              <a:buChar char="-"/>
            </a:pPr>
            <a:r>
              <a:rPr lang="de-DE" dirty="0">
                <a:solidFill>
                  <a:schemeClr val="bg1">
                    <a:lumMod val="50000"/>
                  </a:schemeClr>
                </a:solidFill>
              </a:rPr>
              <a:t>Passform, Funktionalität und Tragekomfort</a:t>
            </a:r>
          </a:p>
          <a:p>
            <a:pPr marL="342900" indent="-342900">
              <a:buClr>
                <a:schemeClr val="accent1"/>
              </a:buClr>
              <a:buFont typeface="Symbol" panose="05050102010706020507" pitchFamily="18" charset="2"/>
              <a:buChar char="-"/>
            </a:pPr>
            <a:r>
              <a:rPr lang="de-DE" dirty="0">
                <a:solidFill>
                  <a:schemeClr val="bg1">
                    <a:lumMod val="50000"/>
                  </a:schemeClr>
                </a:solidFill>
              </a:rPr>
              <a:t>Möglichkeit zur Verstellung von Bügellänge / Neigungswinkel</a:t>
            </a:r>
          </a:p>
          <a:p>
            <a:pPr marL="342900" indent="-342900">
              <a:buClr>
                <a:schemeClr val="accent1"/>
              </a:buClr>
              <a:buFont typeface="Symbol" panose="05050102010706020507" pitchFamily="18" charset="2"/>
              <a:buChar char="-"/>
            </a:pPr>
            <a:r>
              <a:rPr lang="de-DE" dirty="0">
                <a:solidFill>
                  <a:schemeClr val="bg1">
                    <a:lumMod val="50000"/>
                  </a:schemeClr>
                </a:solidFill>
              </a:rPr>
              <a:t>Möglichkeit der Anpassung der Brille durch Kaltverformung</a:t>
            </a:r>
          </a:p>
          <a:p>
            <a:pPr marL="342900" indent="-342900">
              <a:buClr>
                <a:schemeClr val="accent1"/>
              </a:buClr>
              <a:buFont typeface="Symbol" panose="05050102010706020507" pitchFamily="18" charset="2"/>
              <a:buChar char="-"/>
            </a:pPr>
            <a:r>
              <a:rPr lang="de-DE" dirty="0">
                <a:solidFill>
                  <a:schemeClr val="bg1">
                    <a:lumMod val="50000"/>
                  </a:schemeClr>
                </a:solidFill>
              </a:rPr>
              <a:t>Größe und Gesichtsfeld</a:t>
            </a:r>
          </a:p>
          <a:p>
            <a:pPr marL="342900" indent="-342900">
              <a:buClr>
                <a:schemeClr val="accent1"/>
              </a:buClr>
              <a:buFont typeface="Symbol" panose="05050102010706020507" pitchFamily="18" charset="2"/>
              <a:buChar char="-"/>
            </a:pPr>
            <a:r>
              <a:rPr lang="de-DE" dirty="0">
                <a:solidFill>
                  <a:schemeClr val="bg1">
                    <a:lumMod val="50000"/>
                  </a:schemeClr>
                </a:solidFill>
              </a:rPr>
              <a:t>Materialstandhaftigkeit (Kratzbeständigkeit, Antistatik)</a:t>
            </a:r>
            <a:endParaRPr lang="de-DE" dirty="0"/>
          </a:p>
          <a:p>
            <a:pPr marL="342900" indent="-342900">
              <a:buClr>
                <a:schemeClr val="accent1"/>
              </a:buClr>
              <a:buFont typeface="Symbol" panose="05050102010706020507" pitchFamily="18" charset="2"/>
              <a:buChar char="-"/>
            </a:pPr>
            <a:r>
              <a:rPr lang="de-DE" dirty="0"/>
              <a:t>Integration der Mitarbeiter bei der Auswahl</a:t>
            </a:r>
          </a:p>
          <a:p>
            <a:endParaRPr lang="de-DE" dirty="0"/>
          </a:p>
        </p:txBody>
      </p:sp>
      <p:sp>
        <p:nvSpPr>
          <p:cNvPr id="4" name="Fußzeilenplatzhalter 3">
            <a:extLst>
              <a:ext uri="{FF2B5EF4-FFF2-40B4-BE49-F238E27FC236}">
                <a16:creationId xmlns:a16="http://schemas.microsoft.com/office/drawing/2014/main" id="{DDDD7B29-6FDE-6C23-61AC-A965AA83D74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3BC45A1-BAD7-5F28-6FF7-1AB2E282A44D}"/>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Tree>
    <p:extLst>
      <p:ext uri="{BB962C8B-B14F-4D97-AF65-F5344CB8AC3E}">
        <p14:creationId xmlns:p14="http://schemas.microsoft.com/office/powerpoint/2010/main" val="111115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3BBEF4-EDE4-1D02-8E73-B7276129849E}"/>
              </a:ext>
            </a:extLst>
          </p:cNvPr>
          <p:cNvSpPr>
            <a:spLocks noGrp="1"/>
          </p:cNvSpPr>
          <p:nvPr>
            <p:ph type="title"/>
          </p:nvPr>
        </p:nvSpPr>
        <p:spPr/>
        <p:txBody>
          <a:bodyPr/>
          <a:lstStyle/>
          <a:p>
            <a:r>
              <a:rPr lang="de-DE" dirty="0"/>
              <a:t>Gefährdungen: Wofür dient der Augenschutz?</a:t>
            </a:r>
          </a:p>
        </p:txBody>
      </p:sp>
      <p:sp>
        <p:nvSpPr>
          <p:cNvPr id="2" name="Inhaltsplatzhalter 1">
            <a:extLst>
              <a:ext uri="{FF2B5EF4-FFF2-40B4-BE49-F238E27FC236}">
                <a16:creationId xmlns:a16="http://schemas.microsoft.com/office/drawing/2014/main" id="{785C8ABB-B6A0-8291-3331-04A7EB198A77}"/>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Das menschliche Auge muss vor mechanischen, optischen, chemischen, thermischen und anderen Einwirkungen geschützt werden</a:t>
            </a:r>
          </a:p>
          <a:p>
            <a:pPr marL="342900" indent="-342900">
              <a:buClr>
                <a:schemeClr val="accent1"/>
              </a:buClr>
              <a:buFont typeface="Wingdings" panose="05000000000000000000" pitchFamily="2" charset="2"/>
              <a:buChar char="§"/>
            </a:pPr>
            <a:r>
              <a:rPr lang="de-DE" sz="2400" dirty="0">
                <a:solidFill>
                  <a:schemeClr val="bg1">
                    <a:lumMod val="50000"/>
                  </a:schemeClr>
                </a:solidFill>
              </a:rPr>
              <a:t>Beispiele: Staub, Splitter, UV-Strahlung, Licht, Säure, Laugen, Hitze, Kälte, Störlichtbogen, Röntgenstrahlen etc.</a:t>
            </a:r>
          </a:p>
          <a:p>
            <a:endParaRPr lang="de-DE" dirty="0"/>
          </a:p>
        </p:txBody>
      </p:sp>
      <p:sp>
        <p:nvSpPr>
          <p:cNvPr id="4" name="Fußzeilenplatzhalter 3">
            <a:extLst>
              <a:ext uri="{FF2B5EF4-FFF2-40B4-BE49-F238E27FC236}">
                <a16:creationId xmlns:a16="http://schemas.microsoft.com/office/drawing/2014/main" id="{E0687891-D8F7-3563-014E-06255C7C988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BF923C2-06B5-54E6-ED8F-46E4C11EA526}"/>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extplatzhalter 6">
            <a:extLst>
              <a:ext uri="{FF2B5EF4-FFF2-40B4-BE49-F238E27FC236}">
                <a16:creationId xmlns:a16="http://schemas.microsoft.com/office/drawing/2014/main" id="{D7C50CA7-B8B8-A83A-1211-A9440B73993D}"/>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280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D8020DA-6525-2BB3-9E26-71BCC5523F06}"/>
              </a:ext>
            </a:extLst>
          </p:cNvPr>
          <p:cNvSpPr>
            <a:spLocks noGrp="1"/>
          </p:cNvSpPr>
          <p:nvPr>
            <p:ph type="title"/>
          </p:nvPr>
        </p:nvSpPr>
        <p:spPr/>
        <p:txBody>
          <a:bodyPr/>
          <a:lstStyle/>
          <a:p>
            <a:r>
              <a:rPr lang="de-DE" altLang="de-DE" dirty="0"/>
              <a:t>Unbedingt notwendig – der geeignete Augenschutz!</a:t>
            </a:r>
            <a:endParaRPr lang="de-DE" dirty="0"/>
          </a:p>
        </p:txBody>
      </p:sp>
      <p:sp>
        <p:nvSpPr>
          <p:cNvPr id="2" name="Inhaltsplatzhalter 1">
            <a:extLst>
              <a:ext uri="{FF2B5EF4-FFF2-40B4-BE49-F238E27FC236}">
                <a16:creationId xmlns:a16="http://schemas.microsoft.com/office/drawing/2014/main" id="{28F215B0-3C36-02CD-74D9-7515D444DB66}"/>
              </a:ext>
            </a:extLst>
          </p:cNvPr>
          <p:cNvSpPr>
            <a:spLocks noGrp="1"/>
          </p:cNvSpPr>
          <p:nvPr>
            <p:ph sz="quarter" idx="19"/>
          </p:nvPr>
        </p:nvSpPr>
        <p:spPr>
          <a:xfrm>
            <a:off x="527051" y="1601093"/>
            <a:ext cx="6289678" cy="4495434"/>
          </a:xfrm>
        </p:spPr>
        <p:txBody>
          <a:bodyPr/>
          <a:lstStyle/>
          <a:p>
            <a:pPr marL="342900" indent="-342900">
              <a:buClr>
                <a:schemeClr val="accent1"/>
              </a:buClr>
              <a:buFont typeface="Wingdings" panose="05000000000000000000" pitchFamily="2" charset="2"/>
              <a:buChar char="§"/>
            </a:pPr>
            <a:r>
              <a:rPr lang="de-DE" altLang="de-DE" sz="2400" b="1" dirty="0">
                <a:solidFill>
                  <a:schemeClr val="bg1">
                    <a:lumMod val="50000"/>
                  </a:schemeClr>
                </a:solidFill>
              </a:rPr>
              <a:t>Eine normale Brille kann keine Schutzbrille ersetzen!</a:t>
            </a:r>
          </a:p>
          <a:p>
            <a:endParaRPr lang="de-DE" altLang="de-DE" sz="2400" b="1" dirty="0">
              <a:solidFill>
                <a:schemeClr val="bg1">
                  <a:lumMod val="50000"/>
                </a:schemeClr>
              </a:solidFill>
            </a:endParaRPr>
          </a:p>
          <a:p>
            <a:endParaRPr lang="de-DE" altLang="de-DE" sz="2400" b="1" dirty="0">
              <a:solidFill>
                <a:schemeClr val="bg1">
                  <a:lumMod val="50000"/>
                </a:schemeClr>
              </a:solidFill>
            </a:endParaRPr>
          </a:p>
          <a:p>
            <a:pPr marL="0" indent="0">
              <a:buNone/>
            </a:pPr>
            <a:endParaRPr lang="de-DE" altLang="de-DE" sz="2400" b="1" dirty="0">
              <a:solidFill>
                <a:schemeClr val="bg1">
                  <a:lumMod val="50000"/>
                </a:schemeClr>
              </a:solidFill>
            </a:endParaRP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Gerade bei Arbeiten mit Säuren oder Laugen muss neben den Augen auch das ganze Gesicht geschützt werden. </a:t>
            </a:r>
          </a:p>
          <a:p>
            <a:endParaRPr lang="de-DE" dirty="0"/>
          </a:p>
        </p:txBody>
      </p:sp>
      <p:sp>
        <p:nvSpPr>
          <p:cNvPr id="4" name="Fußzeilenplatzhalter 3">
            <a:extLst>
              <a:ext uri="{FF2B5EF4-FFF2-40B4-BE49-F238E27FC236}">
                <a16:creationId xmlns:a16="http://schemas.microsoft.com/office/drawing/2014/main" id="{D1A50B01-1753-F631-CE37-799BC8C9E8B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E0D9F01E-AA26-DA5F-9D62-7DAA59D07C19}"/>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E33AF0DD-C578-4E0B-73E8-00C6A91CB676}"/>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A8723668-C0E6-2313-235C-4615363314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16729" y="1644851"/>
            <a:ext cx="2734603" cy="1822528"/>
          </a:xfrm>
          <a:prstGeom prst="rect">
            <a:avLst/>
          </a:prstGeom>
        </p:spPr>
      </p:pic>
      <p:sp>
        <p:nvSpPr>
          <p:cNvPr id="9" name="Textfeld 1">
            <a:extLst>
              <a:ext uri="{FF2B5EF4-FFF2-40B4-BE49-F238E27FC236}">
                <a16:creationId xmlns:a16="http://schemas.microsoft.com/office/drawing/2014/main" id="{D1F2E517-CBFB-95AC-F3B8-6A7FE6591FAC}"/>
              </a:ext>
            </a:extLst>
          </p:cNvPr>
          <p:cNvSpPr txBox="1"/>
          <p:nvPr/>
        </p:nvSpPr>
        <p:spPr>
          <a:xfrm>
            <a:off x="8577566" y="3020722"/>
            <a:ext cx="1560851"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2904369</a:t>
            </a:r>
          </a:p>
        </p:txBody>
      </p:sp>
      <p:pic>
        <p:nvPicPr>
          <p:cNvPr id="10" name="Grafik 9">
            <a:extLst>
              <a:ext uri="{FF2B5EF4-FFF2-40B4-BE49-F238E27FC236}">
                <a16:creationId xmlns:a16="http://schemas.microsoft.com/office/drawing/2014/main" id="{2A0AD724-BD90-D48B-238D-DFF74766D7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6729" y="3848788"/>
            <a:ext cx="3521675" cy="2347088"/>
          </a:xfrm>
          <a:prstGeom prst="rect">
            <a:avLst/>
          </a:prstGeom>
        </p:spPr>
      </p:pic>
      <p:sp>
        <p:nvSpPr>
          <p:cNvPr id="11" name="Textfeld 1">
            <a:extLst>
              <a:ext uri="{FF2B5EF4-FFF2-40B4-BE49-F238E27FC236}">
                <a16:creationId xmlns:a16="http://schemas.microsoft.com/office/drawing/2014/main" id="{1C14C1B7-3376-8968-2793-C8784B5CBA22}"/>
              </a:ext>
            </a:extLst>
          </p:cNvPr>
          <p:cNvSpPr txBox="1"/>
          <p:nvPr/>
        </p:nvSpPr>
        <p:spPr>
          <a:xfrm>
            <a:off x="8744982" y="5958027"/>
            <a:ext cx="1612700"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solidFill>
                  <a:schemeClr val="bg1"/>
                </a:solidFill>
              </a:rPr>
              <a:t>© Fotolia - 188196406</a:t>
            </a:r>
          </a:p>
        </p:txBody>
      </p:sp>
    </p:spTree>
    <p:extLst>
      <p:ext uri="{BB962C8B-B14F-4D97-AF65-F5344CB8AC3E}">
        <p14:creationId xmlns:p14="http://schemas.microsoft.com/office/powerpoint/2010/main" val="64522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3F4C91B2-DC2F-5678-BFEB-4DDA9FACABD2}"/>
              </a:ext>
            </a:extLst>
          </p:cNvPr>
          <p:cNvSpPr>
            <a:spLocks noGrp="1"/>
          </p:cNvSpPr>
          <p:nvPr>
            <p:ph type="title"/>
          </p:nvPr>
        </p:nvSpPr>
        <p:spPr/>
        <p:txBody>
          <a:bodyPr/>
          <a:lstStyle/>
          <a:p>
            <a:r>
              <a:rPr lang="de-DE" altLang="de-DE" dirty="0"/>
              <a:t>Ursachen für Augenverletzungen</a:t>
            </a:r>
            <a:endParaRPr lang="de-DE" dirty="0"/>
          </a:p>
        </p:txBody>
      </p:sp>
      <p:sp>
        <p:nvSpPr>
          <p:cNvPr id="2" name="Inhaltsplatzhalter 1">
            <a:extLst>
              <a:ext uri="{FF2B5EF4-FFF2-40B4-BE49-F238E27FC236}">
                <a16:creationId xmlns:a16="http://schemas.microsoft.com/office/drawing/2014/main" id="{759D631C-0E2B-2CC2-87CF-C99DF7329691}"/>
              </a:ext>
            </a:extLst>
          </p:cNvPr>
          <p:cNvSpPr>
            <a:spLocks noGrp="1"/>
          </p:cNvSpPr>
          <p:nvPr>
            <p:ph sz="quarter" idx="19"/>
          </p:nvPr>
        </p:nvSpPr>
        <p:spPr>
          <a:xfrm>
            <a:off x="527051" y="1601093"/>
            <a:ext cx="6849003" cy="4495434"/>
          </a:xfrm>
        </p:spPr>
        <p:txBody>
          <a:bodyPr/>
          <a:lstStyle/>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Mangelhafte bzw. gar keine vorhandenen Kenntnisse bezüglich des richtigen Schutzes.</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Missachten der Vorschriften zum richtigen Tragen der PSA</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Unter-/Fehleinschätzen der Gefahr </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Betrachtung der eigenen Brille als ausreichend </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Unerfahrenheit / Selbstüberschätzung</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Bequemlichkeit </a:t>
            </a:r>
          </a:p>
          <a:p>
            <a:pPr marL="342900" indent="-342900">
              <a:buClr>
                <a:schemeClr val="accent1"/>
              </a:buClr>
              <a:buFont typeface="Wingdings" panose="05000000000000000000" pitchFamily="2" charset="2"/>
              <a:buChar char="§"/>
            </a:pPr>
            <a:r>
              <a:rPr lang="de-DE" altLang="de-DE" sz="2400" dirty="0">
                <a:solidFill>
                  <a:schemeClr val="bg1">
                    <a:lumMod val="50000"/>
                  </a:schemeClr>
                </a:solidFill>
              </a:rPr>
              <a:t>Ungeeigneter Augenschutz</a:t>
            </a:r>
          </a:p>
          <a:p>
            <a:endParaRPr lang="de-DE" dirty="0"/>
          </a:p>
        </p:txBody>
      </p:sp>
      <p:sp>
        <p:nvSpPr>
          <p:cNvPr id="4" name="Fußzeilenplatzhalter 3">
            <a:extLst>
              <a:ext uri="{FF2B5EF4-FFF2-40B4-BE49-F238E27FC236}">
                <a16:creationId xmlns:a16="http://schemas.microsoft.com/office/drawing/2014/main" id="{B07912C1-B7F4-CB3E-44F8-8460CE85AD3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0CA9004-4991-393E-7AEF-E442057644F2}"/>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8456BF26-674F-BCFF-C0B1-F815ABD89D28}"/>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D235358C-D1BA-99F3-BA75-12D323BA25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6054" y="1533740"/>
            <a:ext cx="2826684" cy="4241282"/>
          </a:xfrm>
          <a:prstGeom prst="rect">
            <a:avLst/>
          </a:prstGeom>
        </p:spPr>
      </p:pic>
      <p:sp>
        <p:nvSpPr>
          <p:cNvPr id="9" name="Textfeld 1">
            <a:extLst>
              <a:ext uri="{FF2B5EF4-FFF2-40B4-BE49-F238E27FC236}">
                <a16:creationId xmlns:a16="http://schemas.microsoft.com/office/drawing/2014/main" id="{871B76C6-C1C4-8811-20EF-008610F587F1}"/>
              </a:ext>
            </a:extLst>
          </p:cNvPr>
          <p:cNvSpPr txBox="1"/>
          <p:nvPr/>
        </p:nvSpPr>
        <p:spPr>
          <a:xfrm>
            <a:off x="8694394" y="5487708"/>
            <a:ext cx="1565806"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solidFill>
                  <a:schemeClr val="bg1"/>
                </a:solidFill>
              </a:rPr>
              <a:t>© Fotolia - 71010816</a:t>
            </a:r>
          </a:p>
        </p:txBody>
      </p:sp>
    </p:spTree>
    <p:extLst>
      <p:ext uri="{BB962C8B-B14F-4D97-AF65-F5344CB8AC3E}">
        <p14:creationId xmlns:p14="http://schemas.microsoft.com/office/powerpoint/2010/main" val="406758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4E5FE0E-3FC9-AB45-D098-9FEE9E1D500C}"/>
              </a:ext>
            </a:extLst>
          </p:cNvPr>
          <p:cNvSpPr>
            <a:spLocks noGrp="1"/>
          </p:cNvSpPr>
          <p:nvPr>
            <p:ph type="title"/>
          </p:nvPr>
        </p:nvSpPr>
        <p:spPr/>
        <p:txBody>
          <a:bodyPr/>
          <a:lstStyle/>
          <a:p>
            <a:r>
              <a:rPr lang="de-DE" altLang="de-DE" dirty="0"/>
              <a:t>Erste Hilfe bei Augenverletzungen</a:t>
            </a:r>
            <a:endParaRPr lang="de-DE" dirty="0"/>
          </a:p>
        </p:txBody>
      </p:sp>
      <p:sp>
        <p:nvSpPr>
          <p:cNvPr id="2" name="Inhaltsplatzhalter 1">
            <a:extLst>
              <a:ext uri="{FF2B5EF4-FFF2-40B4-BE49-F238E27FC236}">
                <a16:creationId xmlns:a16="http://schemas.microsoft.com/office/drawing/2014/main" id="{73FF9E05-A25C-1FE2-FEE7-65F3014A672C}"/>
              </a:ext>
            </a:extLst>
          </p:cNvPr>
          <p:cNvSpPr>
            <a:spLocks noGrp="1"/>
          </p:cNvSpPr>
          <p:nvPr>
            <p:ph sz="quarter" idx="19"/>
          </p:nvPr>
        </p:nvSpPr>
        <p:spPr>
          <a:xfrm>
            <a:off x="527051" y="1601093"/>
            <a:ext cx="6643585" cy="4495434"/>
          </a:xfrm>
        </p:spPr>
        <p:txBody>
          <a:bodyPr vert="horz" lIns="0" tIns="0" rIns="0" bIns="0" rtlCol="0" anchor="t">
            <a:noAutofit/>
          </a:bodyPr>
          <a:lstStyle/>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rPr>
              <a:t>Ruhe bewahren</a:t>
            </a: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rPr>
              <a:t>Fremdkörper im Auge </a:t>
            </a:r>
            <a:r>
              <a:rPr lang="de-DE" altLang="de-DE" sz="2000" dirty="0">
                <a:solidFill>
                  <a:schemeClr val="bg1">
                    <a:lumMod val="50000"/>
                  </a:schemeClr>
                </a:solidFill>
                <a:sym typeface="Wingdings" panose="05000000000000000000" pitchFamily="2" charset="2"/>
              </a:rPr>
              <a:t> Reiben vermeiden</a:t>
            </a: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Fremdkörper nicht selbst entfernen </a:t>
            </a:r>
          </a:p>
          <a:p>
            <a:pPr marL="342900" indent="-342900">
              <a:buClr>
                <a:schemeClr val="accent1"/>
              </a:buClr>
              <a:buFont typeface="+mj-lt"/>
              <a:buAutoNum type="arabicPeriod"/>
            </a:pPr>
            <a:r>
              <a:rPr lang="de-DE" altLang="de-DE" sz="2000" dirty="0">
                <a:solidFill>
                  <a:schemeClr val="bg1">
                    <a:lumMod val="50000"/>
                  </a:schemeClr>
                </a:solidFill>
                <a:latin typeface="Calibri"/>
                <a:cs typeface="Calibri"/>
                <a:sym typeface="Wingdings" panose="05000000000000000000" pitchFamily="2" charset="2"/>
              </a:rPr>
              <a:t>Beide Augen mit sauberem Tuch abdecken </a:t>
            </a:r>
            <a:endParaRPr lang="de-DE" altLang="de-DE" sz="2000" dirty="0">
              <a:solidFill>
                <a:schemeClr val="bg1">
                  <a:lumMod val="50000"/>
                </a:schemeClr>
              </a:solidFill>
              <a:cs typeface="Calibri"/>
            </a:endParaRPr>
          </a:p>
          <a:p>
            <a:pPr marL="0" indent="0">
              <a:buNone/>
            </a:pPr>
            <a:endParaRPr lang="de-DE" altLang="de-DE" sz="2000" dirty="0">
              <a:solidFill>
                <a:schemeClr val="bg1">
                  <a:lumMod val="50000"/>
                </a:schemeClr>
              </a:solidFill>
              <a:sym typeface="Wingdings" panose="05000000000000000000" pitchFamily="2" charset="2"/>
            </a:endParaRP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Verätzung am Auge  Auge von zweiter Person offen</a:t>
            </a:r>
            <a:br>
              <a:rPr lang="de-DE" altLang="de-DE" sz="2000" dirty="0">
                <a:solidFill>
                  <a:schemeClr val="bg1">
                    <a:lumMod val="50000"/>
                  </a:schemeClr>
                </a:solidFill>
                <a:sym typeface="Wingdings" panose="05000000000000000000" pitchFamily="2" charset="2"/>
              </a:rPr>
            </a:br>
            <a:r>
              <a:rPr lang="de-DE" altLang="de-DE" sz="2000" dirty="0">
                <a:solidFill>
                  <a:schemeClr val="bg1">
                    <a:lumMod val="50000"/>
                  </a:schemeClr>
                </a:solidFill>
                <a:sym typeface="Wingdings" panose="05000000000000000000" pitchFamily="2" charset="2"/>
              </a:rPr>
              <a:t>halten lassen </a:t>
            </a: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Mit viel Wasser ausspülen</a:t>
            </a:r>
          </a:p>
          <a:p>
            <a:pPr marL="0" indent="0">
              <a:spcBef>
                <a:spcPts val="0"/>
              </a:spcBef>
              <a:spcAft>
                <a:spcPts val="0"/>
              </a:spcAft>
              <a:buNone/>
            </a:pPr>
            <a:endParaRPr lang="de-DE" altLang="de-DE" sz="2000" dirty="0">
              <a:solidFill>
                <a:schemeClr val="bg1">
                  <a:lumMod val="50000"/>
                </a:schemeClr>
              </a:solidFill>
              <a:sym typeface="Wingdings" panose="05000000000000000000" pitchFamily="2" charset="2"/>
            </a:endParaRP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Verbrennungen  kalte, feuchte Umschläge</a:t>
            </a: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Keine Salbe (Hitzestau)</a:t>
            </a:r>
          </a:p>
          <a:p>
            <a:pPr marL="0" indent="0">
              <a:spcBef>
                <a:spcPts val="0"/>
              </a:spcBef>
              <a:spcAft>
                <a:spcPts val="0"/>
              </a:spcAft>
              <a:buNone/>
            </a:pPr>
            <a:endParaRPr lang="de-DE" altLang="de-DE" sz="2000" dirty="0">
              <a:solidFill>
                <a:schemeClr val="bg1">
                  <a:lumMod val="50000"/>
                </a:schemeClr>
              </a:solidFill>
              <a:sym typeface="Wingdings" panose="05000000000000000000" pitchFamily="2" charset="2"/>
            </a:endParaRP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Schlag oder Stoß –&gt; Auge kühlen</a:t>
            </a:r>
          </a:p>
          <a:p>
            <a:pPr marL="342900" indent="-342900">
              <a:spcBef>
                <a:spcPts val="0"/>
              </a:spcBef>
              <a:spcAft>
                <a:spcPts val="0"/>
              </a:spcAft>
              <a:buClr>
                <a:schemeClr val="accent1"/>
              </a:buClr>
              <a:buFont typeface="+mj-lt"/>
              <a:buAutoNum type="arabicPeriod"/>
            </a:pPr>
            <a:r>
              <a:rPr lang="de-DE" altLang="de-DE" sz="2000" dirty="0">
                <a:solidFill>
                  <a:schemeClr val="bg1">
                    <a:lumMod val="50000"/>
                  </a:schemeClr>
                </a:solidFill>
                <a:sym typeface="Wingdings" panose="05000000000000000000" pitchFamily="2" charset="2"/>
              </a:rPr>
              <a:t>Augendusche benutzen</a:t>
            </a:r>
            <a:endParaRPr lang="de-DE" sz="2000" dirty="0"/>
          </a:p>
        </p:txBody>
      </p:sp>
      <p:sp>
        <p:nvSpPr>
          <p:cNvPr id="4" name="Fußzeilenplatzhalter 3">
            <a:extLst>
              <a:ext uri="{FF2B5EF4-FFF2-40B4-BE49-F238E27FC236}">
                <a16:creationId xmlns:a16="http://schemas.microsoft.com/office/drawing/2014/main" id="{C35AB837-EC30-3F27-2E19-01A0465F469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386819B-F2BD-675A-E5E7-FA7D9B87AA26}"/>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3" name="Textplatzhalter 2">
            <a:extLst>
              <a:ext uri="{FF2B5EF4-FFF2-40B4-BE49-F238E27FC236}">
                <a16:creationId xmlns:a16="http://schemas.microsoft.com/office/drawing/2014/main" id="{C11C1081-B900-C77E-3E11-DAFD63B520FF}"/>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9AB5AA3B-5DFB-22A6-F50E-A6EFBFE676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98573" y="1498520"/>
            <a:ext cx="2926080" cy="4587115"/>
          </a:xfrm>
          <a:prstGeom prst="rect">
            <a:avLst/>
          </a:prstGeom>
        </p:spPr>
      </p:pic>
      <p:sp>
        <p:nvSpPr>
          <p:cNvPr id="9" name="Textfeld 1">
            <a:extLst>
              <a:ext uri="{FF2B5EF4-FFF2-40B4-BE49-F238E27FC236}">
                <a16:creationId xmlns:a16="http://schemas.microsoft.com/office/drawing/2014/main" id="{E1416C8A-FE6E-9D6E-C21A-8CD60A7D0C95}"/>
              </a:ext>
            </a:extLst>
          </p:cNvPr>
          <p:cNvSpPr txBox="1"/>
          <p:nvPr/>
        </p:nvSpPr>
        <p:spPr>
          <a:xfrm>
            <a:off x="8764856" y="5831353"/>
            <a:ext cx="1587734" cy="276999"/>
          </a:xfrm>
          <a:prstGeom prst="rect">
            <a:avLst/>
          </a:prstGeom>
          <a:noFill/>
        </p:spPr>
        <p:txBody>
          <a:bodyPr wrap="square" lIns="91440" tIns="45720" rIns="91440" bIns="4572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solidFill>
                  <a:schemeClr val="bg1"/>
                </a:solidFill>
              </a:rPr>
              <a:t>© Fotolia - 24556778</a:t>
            </a:r>
            <a:endParaRPr lang="de-DE" sz="1200" dirty="0">
              <a:solidFill>
                <a:schemeClr val="bg1"/>
              </a:solidFill>
              <a:cs typeface="Calibri"/>
            </a:endParaRPr>
          </a:p>
        </p:txBody>
      </p:sp>
    </p:spTree>
    <p:extLst>
      <p:ext uri="{BB962C8B-B14F-4D97-AF65-F5344CB8AC3E}">
        <p14:creationId xmlns:p14="http://schemas.microsoft.com/office/powerpoint/2010/main" val="402039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14</Words>
  <Application>Microsoft Office PowerPoint</Application>
  <PresentationFormat>Breitbild</PresentationFormat>
  <Paragraphs>80</Paragraphs>
  <Slides>11</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1</vt:i4>
      </vt:variant>
    </vt:vector>
  </HeadingPairs>
  <TitlesOfParts>
    <vt:vector size="16" baseType="lpstr">
      <vt:lpstr>Arial</vt:lpstr>
      <vt:lpstr>Calibri</vt:lpstr>
      <vt:lpstr>Symbol</vt:lpstr>
      <vt:lpstr>Wingdings</vt:lpstr>
      <vt:lpstr>1_TeachToProtect Unterweisung</vt:lpstr>
      <vt:lpstr>Augenschutz</vt:lpstr>
      <vt:lpstr>Definition von Augenschutz</vt:lpstr>
      <vt:lpstr>Welche Augenschutz-Arten gibt es?</vt:lpstr>
      <vt:lpstr>Welche Arten von Augenschutz gibt es?</vt:lpstr>
      <vt:lpstr>Welche Kriterien sind bei der Auswahl des Augenschutzes zu beachten?</vt:lpstr>
      <vt:lpstr>Gefährdungen: Wofür dient der Augenschutz?</vt:lpstr>
      <vt:lpstr>Unbedingt notwendig – der geeignete Augenschutz!</vt:lpstr>
      <vt:lpstr>Ursachen für Augenverletzungen</vt:lpstr>
      <vt:lpstr>Erste Hilfe bei Augenverletzung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35</cp:revision>
  <dcterms:created xsi:type="dcterms:W3CDTF">2022-10-23T09:49:27Z</dcterms:created>
  <dcterms:modified xsi:type="dcterms:W3CDTF">2025-02-12T04: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